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282" r:id="rId2"/>
    <p:sldId id="284" r:id="rId3"/>
    <p:sldId id="283" r:id="rId4"/>
    <p:sldId id="263" r:id="rId5"/>
    <p:sldId id="264" r:id="rId6"/>
    <p:sldId id="265" r:id="rId7"/>
    <p:sldId id="266" r:id="rId8"/>
    <p:sldId id="267" r:id="rId9"/>
    <p:sldId id="270" r:id="rId10"/>
    <p:sldId id="271" r:id="rId11"/>
    <p:sldId id="272" r:id="rId12"/>
    <p:sldId id="273" r:id="rId13"/>
    <p:sldId id="274" r:id="rId14"/>
    <p:sldId id="275" r:id="rId15"/>
    <p:sldId id="276" r:id="rId16"/>
    <p:sldId id="277" r:id="rId17"/>
    <p:sldId id="278" r:id="rId18"/>
    <p:sldId id="281" r:id="rId19"/>
    <p:sldId id="279" r:id="rId20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243665"/>
    <a:srgbClr val="1B2748"/>
    <a:srgbClr val="151E36"/>
    <a:srgbClr val="3B003B"/>
    <a:srgbClr val="274557"/>
    <a:srgbClr val="2F002F"/>
    <a:srgbClr val="8B3189"/>
    <a:srgbClr val="4545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196" autoAdjust="0"/>
    <p:restoredTop sz="94660" autoAdjust="0"/>
  </p:normalViewPr>
  <p:slideViewPr>
    <p:cSldViewPr>
      <p:cViewPr>
        <p:scale>
          <a:sx n="70" d="100"/>
          <a:sy n="70" d="100"/>
        </p:scale>
        <p:origin x="-726" y="-18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360000" cy="360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1CCE1D-239C-42C5-A2E1-CA7A1ECB8E45}" type="datetimeFigureOut">
              <a:rPr lang="it-IT" smtClean="0"/>
              <a:pPr/>
              <a:t>21/02/2018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31DD46-DA9F-4B3E-A1CE-80D4F78FAE6F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061086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ricsson.com/en/press-releases/2015/6/ericsson-and-kt-strengthen-collaboration-to-develop-5g-and-iot-technologies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it-I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’avvio del progetto Roma5G segna un nuovo traguardo nel percorso che oggi vede Ericsson alla guida di numerose iniziative in Italia e nel mondo per consentire l’evoluzione delle attuali reti mobili verso il 5G e contribuire a una più rapida digitalizzazione del nostro Paese.</a:t>
            </a:r>
            <a:br>
              <a:rPr lang="it-I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it-IT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azie a solide e importanti partnership, come quella con Fastweb, e ad ingenti investimenti in R&amp;S, riusciamo a mettere a fattor comune una piattaforma tecnologica all’avanguardia che porterà Roma, tra le prime città europee, a dotarsi di una infrastruttura mobile di quinta generazione.</a:t>
            </a:r>
            <a:endParaRPr lang="it-IT" sz="1200" kern="120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endParaRPr lang="it-IT" sz="1200" noProof="0" dirty="0"/>
          </a:p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r>
              <a:rPr lang="it-IT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l ruolo di Ericsson in questa sperimentazione per Roma si sviluppa quindi su 3 fronti:</a:t>
            </a:r>
          </a:p>
          <a:p>
            <a:pPr marL="228600" indent="-228600">
              <a:buClr>
                <a:schemeClr val="tx1"/>
              </a:buClr>
              <a:buFont typeface="+mj-lt"/>
              <a:buAutoNum type="arabicPeriod"/>
            </a:pPr>
            <a:r>
              <a:rPr lang="it-IT" sz="1200" noProof="0" dirty="0"/>
              <a:t>La componente tecnologica</a:t>
            </a:r>
          </a:p>
          <a:p>
            <a:pPr marL="228600" indent="-228600">
              <a:buClr>
                <a:schemeClr val="tx1"/>
              </a:buClr>
              <a:buFont typeface="+mj-lt"/>
              <a:buAutoNum type="arabicPeriod"/>
            </a:pPr>
            <a:r>
              <a:rPr lang="it-IT" sz="1200" noProof="0" dirty="0"/>
              <a:t>Esperienze Globali portate a fattor comune per Roma</a:t>
            </a:r>
          </a:p>
          <a:p>
            <a:pPr marL="228600" indent="-228600">
              <a:buClr>
                <a:schemeClr val="tx1"/>
              </a:buClr>
              <a:buFont typeface="+mj-lt"/>
              <a:buAutoNum type="arabicPeriod"/>
            </a:pPr>
            <a:r>
              <a:rPr lang="it-IT" sz="1200" noProof="0" dirty="0"/>
              <a:t>Competenze Locali e capacità di aggregare e sviluppare Ecosistemi </a:t>
            </a:r>
          </a:p>
          <a:p>
            <a:pPr marL="228600" indent="-228600">
              <a:buClr>
                <a:schemeClr val="tx1"/>
              </a:buClr>
              <a:buFont typeface="+mj-lt"/>
              <a:buAutoNum type="arabicPeriod"/>
            </a:pPr>
            <a:endParaRPr lang="it-IT" sz="1200" noProof="0" dirty="0"/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rabicParenR"/>
              <a:tabLst/>
              <a:defRPr/>
            </a:pPr>
            <a:r>
              <a:rPr lang="it-IT" sz="1200" b="1" u="sng" noProof="0" dirty="0"/>
              <a:t>La Componente Tecnologica:</a:t>
            </a:r>
            <a:r>
              <a:rPr lang="it-IT" sz="1200" b="1" u="none" noProof="0" dirty="0"/>
              <a:t> </a:t>
            </a:r>
            <a:r>
              <a:rPr lang="it-IT" sz="1200" b="0" noProof="0" dirty="0"/>
              <a:t>una piattaforma per abilitare ecosistemi, </a:t>
            </a:r>
            <a:r>
              <a:rPr lang="it-IT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enari di utilizzo più avanzati e nuovi modelli di business </a:t>
            </a:r>
            <a:r>
              <a:rPr lang="it-IT" sz="1200" b="0" noProof="0" dirty="0"/>
              <a:t>che si compone di un accesso Radio, un’infrastruttura di rete e una piattaforma di processamento dei dati e esposizione delle applicazioni.</a:t>
            </a:r>
            <a:br>
              <a:rPr lang="it-IT" sz="1200" b="0" noProof="0" dirty="0"/>
            </a:br>
            <a:r>
              <a:rPr lang="it-IT" sz="1200" b="0" noProof="0" dirty="0"/>
              <a:t/>
            </a:r>
            <a:br>
              <a:rPr lang="it-IT" sz="1200" b="0" noProof="0" dirty="0"/>
            </a:br>
            <a:r>
              <a:rPr lang="it-IT" sz="1200" b="0" noProof="0" dirty="0"/>
              <a:t>Una piattaforma che permetterà di connettere persone, infrastrutture, asset  </a:t>
            </a:r>
            <a:r>
              <a:rPr lang="it-IT" sz="1200" b="0" noProof="0" dirty="0" err="1"/>
              <a:t>Insude</a:t>
            </a:r>
            <a:r>
              <a:rPr lang="it-IT" sz="1200" b="0" noProof="0" dirty="0"/>
              <a:t> cose</a:t>
            </a:r>
            <a:br>
              <a:rPr lang="it-IT" sz="1200" b="0" noProof="0" dirty="0"/>
            </a:br>
            <a:r>
              <a:rPr lang="it-IT" sz="1200" b="0" noProof="0" dirty="0"/>
              <a:t>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rabicParenR"/>
              <a:tabLst/>
              <a:defRPr/>
            </a:pPr>
            <a:r>
              <a:rPr lang="it-IT" sz="1200" b="1" noProof="0" dirty="0"/>
              <a:t>da una lato</a:t>
            </a:r>
            <a:r>
              <a:rPr lang="it-IT" sz="1200" b="0" noProof="0" dirty="0"/>
              <a:t> di sviluppare e offrire nuovi servizi digitali, esperienze immersive ma anche </a:t>
            </a:r>
            <a:r>
              <a:rPr lang="it-IT" sz="1200" b="1" noProof="0" dirty="0"/>
              <a:t>2)</a:t>
            </a:r>
            <a:r>
              <a:rPr lang="it-IT" sz="1200" b="0" noProof="0" dirty="0"/>
              <a:t> di supportare e accelerare la digitalizzazione delle Industrie, della Società e delle Città. Nuovi </a:t>
            </a:r>
            <a:br>
              <a:rPr lang="it-IT" sz="1200" b="0" noProof="0" dirty="0"/>
            </a:br>
            <a:r>
              <a:rPr lang="it-IT" sz="1200" b="0" noProof="0" dirty="0"/>
              <a:t/>
            </a:r>
            <a:br>
              <a:rPr lang="it-IT" sz="1200" b="0" noProof="0" dirty="0"/>
            </a:br>
            <a:r>
              <a:rPr lang="it-IT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lla quinta generazione è il servizio (e la sua qualità) che determinano la struttura della rete. Tutto questo perché le tecnologie del 5G permettono di fare la rete a fette (slicing). Ogni fetta (slice) è una rete virtuale che il fornitore del servizio potrà controllare a proprio piacimento. Una banca, una compagnia elettrica, un produttore di contenuti video, un fornitore di servizi per auto connesse o autonome, un ospedale potranno godere della qualità di rete congeniale alle proprie esigenze, in termini di velocità, latenza, priorità.</a:t>
            </a:r>
            <a:r>
              <a:rPr lang="it-IT" sz="1200" b="0" i="0" u="none" strike="noStrike" kern="1200" baseline="0" noProof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/>
            </a:r>
            <a:br>
              <a:rPr lang="it-IT" sz="1200" b="0" i="0" u="none" strike="noStrike" kern="1200" baseline="0" noProof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it-IT" sz="1200" b="0" i="0" u="none" strike="noStrike" kern="1200" baseline="0" noProof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/>
            </a:r>
            <a:br>
              <a:rPr lang="it-IT" sz="1200" b="0" i="0" u="none" strike="noStrike" kern="1200" baseline="0" noProof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b="0" i="0" u="none" strike="noStrike" kern="1200" baseline="0" noProof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’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rastruttura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i rete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cquisterà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it-IT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sì una nuova “plasticità” tale da renderla capace di adattarsi rapidamente ed in maniera efficace alle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ichieste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l Mercato.</a:t>
            </a:r>
            <a:b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endParaRPr lang="it-IT" sz="1200" b="0" noProof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None/>
              <a:tabLst/>
              <a:defRPr/>
            </a:pPr>
            <a:endParaRPr lang="it-IT" sz="1200" b="0" noProof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None/>
              <a:tabLst/>
              <a:defRPr/>
            </a:pPr>
            <a:endParaRPr lang="it-IT" sz="1200" b="0" noProof="0" dirty="0"/>
          </a:p>
          <a:p>
            <a:r>
              <a:rPr lang="it-IT" sz="1200" b="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a le prime aziende ad imbarcarsi nell’impresa 5G c’è stata </a:t>
            </a:r>
            <a:r>
              <a:rPr lang="it-IT" sz="1200" b="0" i="1" u="sng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Ericsson</a:t>
            </a:r>
            <a:r>
              <a:rPr lang="it-IT" sz="1200" b="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it-IT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it-IT" sz="1200" b="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 nostre competenze 5G end-to-end, che includono le infrastrutture di rete radio e core e servizi che consentiranno all’operatore di offrire un’esperienza completamente nuova ai propri clienti.</a:t>
            </a:r>
            <a:endParaRPr lang="it-IT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it-IT" sz="1200" b="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it-IT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it-IT" sz="1200" b="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 tratta della prima iniziativa a Roma che intende aggregare industrie, istituzioni, università, centri di ricerca, piccole e medie imprese per sviluppare e testare nuovi servizi e progetti pilota che si avvalgono della tecnologia 5G. </a:t>
            </a:r>
            <a:endParaRPr lang="it-IT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it-IT" sz="1200" b="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 principali settori che riguarderanno i servizi in sperimentazione saranno Mobilità, Sicurezza e Turismo. </a:t>
            </a:r>
            <a:endParaRPr lang="it-IT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it-IT" sz="1200" b="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 sperimentazione consentirà di individuare nuove applicazioni tecnologiche che la tecnologia 5G introdurrà nel mercato a partire dal 2020.</a:t>
            </a:r>
            <a:endParaRPr lang="it-IT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it-IT" sz="1200" b="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sa cambia con il 5G? Per l’utente si prevedono nuovi modi per vivere i servizi digitali. </a:t>
            </a:r>
            <a:endParaRPr lang="it-IT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it-IT" sz="1200" b="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 esempio, e qui vedremo un primo assaggio del servizio futuro, ci si potrà immergersi nell’evento grazie a streaming video a 360 gradi, realtà virtuale e aumentata. Ad esempio, potranno vedere eventi, siti d’interesse, spazi urbani da diversi punti di osservazione, come la visuale in prima persona in ultra </a:t>
            </a:r>
            <a:r>
              <a:rPr lang="it-IT" sz="1200" b="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d</a:t>
            </a:r>
            <a:r>
              <a:rPr lang="it-IT" sz="1200" b="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controllare il replay istantaneo degli eventi e fruire di tutta una serie di dettagli come informazioni aggiuntive sugli elementi oggetto di visualizzazione.</a:t>
            </a:r>
            <a:endParaRPr lang="it-IT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None/>
              <a:tabLst/>
              <a:defRPr/>
            </a:pPr>
            <a:endParaRPr lang="it-IT" sz="1200" b="0" noProof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None/>
              <a:tabLst/>
              <a:defRPr/>
            </a:pPr>
            <a:endParaRPr lang="it-IT" sz="1200" b="0" noProof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None/>
              <a:tabLst/>
              <a:defRPr/>
            </a:pPr>
            <a:endParaRPr lang="it-IT" sz="1200" b="0" noProof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None/>
              <a:tabLst/>
              <a:defRPr/>
            </a:pPr>
            <a:endParaRPr lang="it-IT" sz="1200" b="0" noProof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None/>
              <a:tabLst/>
              <a:defRPr/>
            </a:pPr>
            <a:r>
              <a:rPr lang="it-IT" sz="1200" b="0" noProof="0" dirty="0"/>
              <a:t/>
            </a:r>
            <a:br>
              <a:rPr lang="it-IT" sz="1200" b="0" noProof="0" dirty="0"/>
            </a:br>
            <a:endParaRPr lang="it-IT" sz="1200" b="0" noProof="0" dirty="0"/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rabicParenR"/>
              <a:tabLst/>
              <a:defRPr/>
            </a:pPr>
            <a:r>
              <a:rPr lang="it-IT" sz="1200" b="1" u="sng" noProof="0" dirty="0"/>
              <a:t>Esperienze Globali che possono essere portate a fattor comune per Roma:</a:t>
            </a:r>
            <a:r>
              <a:rPr lang="it-IT" sz="1200" b="1" u="none" noProof="0" dirty="0"/>
              <a:t> </a:t>
            </a:r>
            <a:r>
              <a:rPr lang="it-IT" sz="1200" b="0" u="none" noProof="0" dirty="0"/>
              <a:t>Ericsson sta’ lavorando a livello mondiale con xxx (Antonio) </a:t>
            </a:r>
            <a:br>
              <a:rPr lang="it-IT" sz="1200" b="0" u="none" noProof="0" dirty="0"/>
            </a:br>
            <a:r>
              <a:rPr lang="it-IT" sz="1200" b="0" u="none" noProof="0" dirty="0"/>
              <a:t/>
            </a:r>
            <a:br>
              <a:rPr lang="it-IT" sz="1200" b="0" u="none" noProof="0" dirty="0"/>
            </a:br>
            <a:r>
              <a:rPr lang="it-IT" sz="1200" b="1" u="none" noProof="0" dirty="0"/>
              <a:t/>
            </a:r>
            <a:br>
              <a:rPr lang="it-IT" sz="1200" b="1" u="none" noProof="0" dirty="0"/>
            </a:br>
            <a:r>
              <a:rPr lang="it-IT" sz="1200" kern="1200" noProof="0" dirty="0">
                <a:solidFill>
                  <a:schemeClr val="tx1"/>
                </a:solidFill>
                <a:latin typeface="Ericsson Hilda Light" panose="00000400000000000000" pitchFamily="2" charset="0"/>
                <a:ea typeface="+mn-ea"/>
                <a:cs typeface="+mn-cs"/>
              </a:rPr>
              <a:t>Abbiamo lavorato con molteplici industrie su casi d'uso per la tecnologia 5G. Questo ci aiuta a garantire che stiamo sviluppando la tecnologia giusta per le applicazioni del mondo reale e ci offre l'esperienza necessaria per aiutare i nostri clienti a capire cosa può essere fatto con la tecnologia per accelerare l'innovazione. Questi programmi sono chiamati 5G per l'Europa, 5G per la Svezia e 5GI2 (Stati Uniti)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rabicParenR"/>
              <a:tabLst/>
              <a:defRPr/>
            </a:pPr>
            <a:endParaRPr lang="it-IT" sz="1200" kern="1200" noProof="0" dirty="0">
              <a:solidFill>
                <a:schemeClr val="tx1"/>
              </a:solidFill>
              <a:latin typeface="Ericsson Hilda Light" panose="00000400000000000000" pitchFamily="2" charset="0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rabicParenR"/>
              <a:tabLst/>
              <a:defRPr/>
            </a:pPr>
            <a:endParaRPr lang="it-IT" sz="1200" kern="1200" noProof="0" dirty="0">
              <a:solidFill>
                <a:schemeClr val="tx1"/>
              </a:solidFill>
              <a:latin typeface="Ericsson Hilda Light" panose="00000400000000000000" pitchFamily="2" charset="0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rabicParenR"/>
              <a:tabLst/>
              <a:defRPr/>
            </a:pPr>
            <a:r>
              <a:rPr lang="it-IT" sz="1200" b="1" noProof="0" dirty="0"/>
              <a:t>Competenze locali e di aggregazioni di Ecosistemi: </a:t>
            </a:r>
            <a:r>
              <a:rPr lang="it-IT" sz="1200" b="0" noProof="0" dirty="0"/>
              <a:t>Competenze locali specifiche dell’azienda quali ad esempio i nostri 3 centri di centri Ricerca Nazionali e le collaborazioni con le eccellenze universitarie e di ricerca del paese il coinvolgimento di partner industriali rappresentativi di filiere.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AutoNum type="arabicParenR"/>
              <a:tabLst/>
              <a:defRPr/>
            </a:pPr>
            <a:endParaRPr lang="it-IT" sz="1200" b="0" noProof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None/>
              <a:tabLst/>
              <a:defRPr/>
            </a:pPr>
            <a:r>
              <a:rPr lang="en-US" dirty="0"/>
              <a:t>http://www.impresacity.it/approfondimenti/18717/network-slicing-5g.htm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+mj-lt"/>
              <a:buNone/>
              <a:tabLst/>
              <a:defRPr/>
            </a:pPr>
            <a:r>
              <a:rPr lang="en-US" dirty="0"/>
              <a:t>http://nova.ilsole24ore.com/esperienze/cosa-cambia-se-facciamo-a-fette-il-5g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B03377-EACA-4053-80C7-17FA27B45C0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82279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3188" y="750888"/>
            <a:ext cx="6678612" cy="37576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8-02-19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324D8E-AF23-4148-9104-0C143C74BDF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23894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kern="0" dirty="0">
              <a:solidFill>
                <a:srgbClr val="FFFFFF"/>
              </a:solidFill>
            </a:endParaRPr>
          </a:p>
          <a:p>
            <a:endParaRPr lang="it-IT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B03377-EACA-4053-80C7-17FA27B45C0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66935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B03377-EACA-4053-80C7-17FA27B45C0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9253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it-IT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B03377-EACA-4053-80C7-17FA27B45C0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28312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42A1C-B7CF-471B-98CE-82CF0B163995}" type="datetimeFigureOut">
              <a:rPr lang="it-IT" smtClean="0"/>
              <a:pPr/>
              <a:t>21/02/2018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14D6EF-16D8-46E1-A2B3-B759D29C29E0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338367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42A1C-B7CF-471B-98CE-82CF0B163995}" type="datetimeFigureOut">
              <a:rPr lang="it-IT" smtClean="0"/>
              <a:pPr/>
              <a:t>21/02/2018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14D6EF-16D8-46E1-A2B3-B759D29C29E0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842920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42A1C-B7CF-471B-98CE-82CF0B163995}" type="datetimeFigureOut">
              <a:rPr lang="it-IT" smtClean="0"/>
              <a:pPr/>
              <a:t>21/02/2018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14D6EF-16D8-46E1-A2B3-B759D29C29E0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583526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8081434" y="1800225"/>
            <a:ext cx="3583517" cy="4724399"/>
          </a:xfrm>
        </p:spPr>
        <p:txBody>
          <a:bodyPr/>
          <a:lstStyle/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add</a:t>
            </a:r>
            <a:r>
              <a:rPr lang="sv-SE" dirty="0"/>
              <a:t>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4305300" y="1800225"/>
            <a:ext cx="3583517" cy="4724399"/>
          </a:xfrm>
        </p:spPr>
        <p:txBody>
          <a:bodyPr/>
          <a:lstStyle/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add</a:t>
            </a:r>
            <a:r>
              <a:rPr lang="sv-SE" dirty="0"/>
              <a:t>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524934" y="1800225"/>
            <a:ext cx="3583517" cy="4724399"/>
          </a:xfrm>
        </p:spPr>
        <p:txBody>
          <a:bodyPr/>
          <a:lstStyle/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add</a:t>
            </a:r>
            <a:r>
              <a:rPr lang="sv-SE" dirty="0"/>
              <a:t>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524935" y="239714"/>
            <a:ext cx="9992784" cy="10853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67233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42A1C-B7CF-471B-98CE-82CF0B163995}" type="datetimeFigureOut">
              <a:rPr lang="it-IT" smtClean="0"/>
              <a:pPr/>
              <a:t>21/02/2018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14D6EF-16D8-46E1-A2B3-B759D29C29E0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08336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42A1C-B7CF-471B-98CE-82CF0B163995}" type="datetimeFigureOut">
              <a:rPr lang="it-IT" smtClean="0"/>
              <a:pPr/>
              <a:t>21/02/2018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14D6EF-16D8-46E1-A2B3-B759D29C29E0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02875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42A1C-B7CF-471B-98CE-82CF0B163995}" type="datetimeFigureOut">
              <a:rPr lang="it-IT" smtClean="0"/>
              <a:pPr/>
              <a:t>21/02/2018</a:t>
            </a:fld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14D6EF-16D8-46E1-A2B3-B759D29C29E0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015628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42A1C-B7CF-471B-98CE-82CF0B163995}" type="datetimeFigureOut">
              <a:rPr lang="it-IT" smtClean="0"/>
              <a:pPr/>
              <a:t>21/02/2018</a:t>
            </a:fld>
            <a:endParaRPr lang="it-IT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14D6EF-16D8-46E1-A2B3-B759D29C29E0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512909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42A1C-B7CF-471B-98CE-82CF0B163995}" type="datetimeFigureOut">
              <a:rPr lang="it-IT" smtClean="0"/>
              <a:pPr/>
              <a:t>21/02/2018</a:t>
            </a:fld>
            <a:endParaRPr lang="it-I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14D6EF-16D8-46E1-A2B3-B759D29C29E0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064043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42A1C-B7CF-471B-98CE-82CF0B163995}" type="datetimeFigureOut">
              <a:rPr lang="it-IT" smtClean="0"/>
              <a:pPr/>
              <a:t>21/02/2018</a:t>
            </a:fld>
            <a:endParaRPr lang="it-IT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14D6EF-16D8-46E1-A2B3-B759D29C29E0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328881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42A1C-B7CF-471B-98CE-82CF0B163995}" type="datetimeFigureOut">
              <a:rPr lang="it-IT" smtClean="0"/>
              <a:pPr/>
              <a:t>21/02/2018</a:t>
            </a:fld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14D6EF-16D8-46E1-A2B3-B759D29C29E0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621797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42A1C-B7CF-471B-98CE-82CF0B163995}" type="datetimeFigureOut">
              <a:rPr lang="it-IT" smtClean="0"/>
              <a:pPr/>
              <a:t>21/02/2018</a:t>
            </a:fld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14D6EF-16D8-46E1-A2B3-B759D29C29E0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753543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942A1C-B7CF-471B-98CE-82CF0B163995}" type="datetimeFigureOut">
              <a:rPr lang="it-IT" smtClean="0"/>
              <a:pPr/>
              <a:t>21/02/2018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14D6EF-16D8-46E1-A2B3-B759D29C29E0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42392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image" Target="../media/image20.png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image" Target="../media/image4.jpe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image" Target="../media/image22.emf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notesSlide" Target="../notesSlides/notesSlide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slideLayout" Target="../slideLayouts/slideLayout2.xml"/><Relationship Id="rId28" Type="http://schemas.openxmlformats.org/officeDocument/2006/relationships/image" Target="../media/image21.emf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microsoft.com/office/2007/relationships/hdphoto" Target="../media/hdphoto1.wdp"/><Relationship Id="rId30" Type="http://schemas.openxmlformats.org/officeDocument/2006/relationships/image" Target="../media/image23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tags" Target="../tags/tag25.xml"/><Relationship Id="rId7" Type="http://schemas.openxmlformats.org/officeDocument/2006/relationships/image" Target="../media/image25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24.jpeg"/><Relationship Id="rId5" Type="http://schemas.openxmlformats.org/officeDocument/2006/relationships/image" Target="../media/image4.jpeg"/><Relationship Id="rId10" Type="http://schemas.openxmlformats.org/officeDocument/2006/relationships/image" Target="../media/image23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2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3.jpeg"/><Relationship Id="rId5" Type="http://schemas.openxmlformats.org/officeDocument/2006/relationships/image" Target="../media/image28.emf"/><Relationship Id="rId4" Type="http://schemas.openxmlformats.org/officeDocument/2006/relationships/image" Target="../media/image27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7" Type="http://schemas.openxmlformats.org/officeDocument/2006/relationships/image" Target="../media/image32.em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jpeg"/><Relationship Id="rId5" Type="http://schemas.openxmlformats.org/officeDocument/2006/relationships/image" Target="../media/image21.emf"/><Relationship Id="rId4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emf"/><Relationship Id="rId3" Type="http://schemas.openxmlformats.org/officeDocument/2006/relationships/image" Target="../media/image4.jpe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11" Type="http://schemas.openxmlformats.org/officeDocument/2006/relationships/image" Target="../media/image23.jpeg"/><Relationship Id="rId5" Type="http://schemas.openxmlformats.org/officeDocument/2006/relationships/image" Target="../media/image34.emf"/><Relationship Id="rId10" Type="http://schemas.openxmlformats.org/officeDocument/2006/relationships/image" Target="../media/image21.emf"/><Relationship Id="rId4" Type="http://schemas.openxmlformats.org/officeDocument/2006/relationships/image" Target="../media/image33.jpeg"/><Relationship Id="rId9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image" Target="../media/image4.jpeg"/><Relationship Id="rId7" Type="http://schemas.openxmlformats.org/officeDocument/2006/relationships/image" Target="../media/image21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emf"/><Relationship Id="rId5" Type="http://schemas.openxmlformats.org/officeDocument/2006/relationships/image" Target="../media/image31.png"/><Relationship Id="rId4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2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emf"/><Relationship Id="rId5" Type="http://schemas.openxmlformats.org/officeDocument/2006/relationships/image" Target="../media/image21.emf"/><Relationship Id="rId4" Type="http://schemas.openxmlformats.org/officeDocument/2006/relationships/image" Target="../media/image3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9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12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="" xmlns:a16="http://schemas.microsoft.com/office/drawing/2014/main" id="{B68037AA-F631-4739-B9B8-C953302166C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32424"/>
            <a:ext cx="12192000" cy="5923797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="" xmlns:a16="http://schemas.microsoft.com/office/drawing/2014/main" id="{087E171C-943E-3549-96A9-A2F6AA345C5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42383" y="405404"/>
            <a:ext cx="3707234" cy="681872"/>
          </a:xfrm>
          <a:prstGeom prst="rect">
            <a:avLst/>
          </a:prstGeom>
        </p:spPr>
      </p:pic>
      <p:sp>
        <p:nvSpPr>
          <p:cNvPr id="2" name="Rettangolo 1"/>
          <p:cNvSpPr/>
          <p:nvPr/>
        </p:nvSpPr>
        <p:spPr>
          <a:xfrm>
            <a:off x="2706425" y="1629000"/>
            <a:ext cx="6779164" cy="2123658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it-IT" sz="44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22 febbraio 2018</a:t>
            </a:r>
          </a:p>
          <a:p>
            <a:pPr algn="ctr"/>
            <a:r>
              <a:rPr lang="it-IT" sz="44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Biblioteca Fabrizio Giovenale</a:t>
            </a:r>
          </a:p>
          <a:p>
            <a:pPr algn="ctr"/>
            <a:r>
              <a:rPr lang="it-IT" sz="44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Roma</a:t>
            </a:r>
            <a:endParaRPr lang="it-IT" sz="4400" b="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641333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:\Users\eseaapp\AppData\Local\Microsoft\Windows\Temporary Internet Files\Content.IE5\INWZLHOR\1A_frontend_ppt.jpg">
            <a:extLst>
              <a:ext uri="{FF2B5EF4-FFF2-40B4-BE49-F238E27FC236}">
                <a16:creationId xmlns="" xmlns:a16="http://schemas.microsoft.com/office/drawing/2014/main" id="{E5B7947E-DA58-4449-AD82-858D45ED46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BEBA8EAE-BF5A-486C-A8C5-ECC9F3942E4B}">
                <a14:imgProps xmlns:a14="http://schemas.microsoft.com/office/drawing/2010/main">
                  <a14:imgLayer r:embed="rId27">
                    <a14:imgEffect>
                      <a14:brightnessContrast bright="-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308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3" name="Freeform 6">
            <a:extLst>
              <a:ext uri="{FF2B5EF4-FFF2-40B4-BE49-F238E27FC236}">
                <a16:creationId xmlns="" xmlns:a16="http://schemas.microsoft.com/office/drawing/2014/main" id="{C9E9BA6F-33AB-43DB-BF9F-568548F8B6CA}"/>
              </a:ext>
            </a:extLst>
          </p:cNvPr>
          <p:cNvSpPr>
            <a:spLocks noChangeAspect="1"/>
          </p:cNvSpPr>
          <p:nvPr/>
        </p:nvSpPr>
        <p:spPr bwMode="auto">
          <a:xfrm rot="10800000" flipH="1">
            <a:off x="-92392" y="1567422"/>
            <a:ext cx="2657981" cy="1545021"/>
          </a:xfrm>
          <a:custGeom>
            <a:avLst/>
            <a:gdLst>
              <a:gd name="T0" fmla="*/ 2147483647 w 1098"/>
              <a:gd name="T1" fmla="*/ 2147483647 h 211"/>
              <a:gd name="T2" fmla="*/ 2147483647 w 1098"/>
              <a:gd name="T3" fmla="*/ 2147483647 h 211"/>
              <a:gd name="T4" fmla="*/ 2147483647 w 1098"/>
              <a:gd name="T5" fmla="*/ 2147483647 h 211"/>
              <a:gd name="T6" fmla="*/ 2147483647 w 1098"/>
              <a:gd name="T7" fmla="*/ 2147483647 h 211"/>
              <a:gd name="T8" fmla="*/ 2147483647 w 1098"/>
              <a:gd name="T9" fmla="*/ 2147483647 h 211"/>
              <a:gd name="T10" fmla="*/ 2147483647 w 1098"/>
              <a:gd name="T11" fmla="*/ 2147483647 h 211"/>
              <a:gd name="T12" fmla="*/ 0 w 1098"/>
              <a:gd name="T13" fmla="*/ 2147483647 h 211"/>
              <a:gd name="T14" fmla="*/ 0 w 1098"/>
              <a:gd name="T15" fmla="*/ 2147483647 h 211"/>
              <a:gd name="T16" fmla="*/ 2147483647 w 1098"/>
              <a:gd name="T17" fmla="*/ 0 h 211"/>
              <a:gd name="T18" fmla="*/ 2147483647 w 1098"/>
              <a:gd name="T19" fmla="*/ 0 h 211"/>
              <a:gd name="T20" fmla="*/ 2147483647 w 1098"/>
              <a:gd name="T21" fmla="*/ 2147483647 h 21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098"/>
              <a:gd name="T34" fmla="*/ 0 h 211"/>
              <a:gd name="T35" fmla="*/ 1098 w 1098"/>
              <a:gd name="T36" fmla="*/ 211 h 21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098" h="211">
                <a:moveTo>
                  <a:pt x="1002" y="10"/>
                </a:moveTo>
                <a:cubicBezTo>
                  <a:pt x="1087" y="95"/>
                  <a:pt x="1087" y="95"/>
                  <a:pt x="1087" y="95"/>
                </a:cubicBezTo>
                <a:cubicBezTo>
                  <a:pt x="1087" y="95"/>
                  <a:pt x="1098" y="105"/>
                  <a:pt x="1087" y="116"/>
                </a:cubicBezTo>
                <a:cubicBezTo>
                  <a:pt x="1075" y="128"/>
                  <a:pt x="1002" y="201"/>
                  <a:pt x="1002" y="201"/>
                </a:cubicBezTo>
                <a:cubicBezTo>
                  <a:pt x="1002" y="201"/>
                  <a:pt x="991" y="211"/>
                  <a:pt x="976" y="211"/>
                </a:cubicBezTo>
                <a:cubicBezTo>
                  <a:pt x="969" y="211"/>
                  <a:pt x="21" y="211"/>
                  <a:pt x="21" y="211"/>
                </a:cubicBezTo>
                <a:cubicBezTo>
                  <a:pt x="9" y="211"/>
                  <a:pt x="0" y="202"/>
                  <a:pt x="0" y="190"/>
                </a:cubicBezTo>
                <a:cubicBezTo>
                  <a:pt x="0" y="21"/>
                  <a:pt x="0" y="21"/>
                  <a:pt x="0" y="21"/>
                </a:cubicBezTo>
                <a:cubicBezTo>
                  <a:pt x="0" y="9"/>
                  <a:pt x="9" y="0"/>
                  <a:pt x="21" y="0"/>
                </a:cubicBezTo>
                <a:cubicBezTo>
                  <a:pt x="21" y="0"/>
                  <a:pt x="969" y="0"/>
                  <a:pt x="976" y="0"/>
                </a:cubicBezTo>
                <a:cubicBezTo>
                  <a:pt x="992" y="0"/>
                  <a:pt x="1002" y="10"/>
                  <a:pt x="1002" y="1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alpha val="0"/>
                </a:schemeClr>
              </a:gs>
              <a:gs pos="83000">
                <a:schemeClr val="bg1">
                  <a:alpha val="36000"/>
                </a:schemeClr>
              </a:gs>
            </a:gsLst>
            <a:lin ang="0" scaled="1"/>
            <a:tileRect/>
          </a:gradFill>
          <a:ln>
            <a:noFill/>
          </a:ln>
        </p:spPr>
        <p:txBody>
          <a:bodyPr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sv-SE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S PGothic" charset="-128"/>
              <a:cs typeface="Arial" charset="0"/>
            </a:endParaRPr>
          </a:p>
        </p:txBody>
      </p:sp>
      <p:sp>
        <p:nvSpPr>
          <p:cNvPr id="101" name="Rectangle: Rounded Corners 86">
            <a:extLst>
              <a:ext uri="{FF2B5EF4-FFF2-40B4-BE49-F238E27FC236}">
                <a16:creationId xmlns="" xmlns:a16="http://schemas.microsoft.com/office/drawing/2014/main" id="{4B1305BC-F684-44FA-A0C9-9174F87AA65B}"/>
              </a:ext>
            </a:extLst>
          </p:cNvPr>
          <p:cNvSpPr/>
          <p:nvPr/>
        </p:nvSpPr>
        <p:spPr bwMode="auto">
          <a:xfrm>
            <a:off x="5470592" y="3882331"/>
            <a:ext cx="1990318" cy="982060"/>
          </a:xfrm>
          <a:prstGeom prst="roundRect">
            <a:avLst>
              <a:gd name="adj" fmla="val 4239"/>
            </a:avLst>
          </a:prstGeom>
          <a:solidFill>
            <a:schemeClr val="bg1">
              <a:alpha val="20000"/>
            </a:schemeClr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45720" rIns="72000" bIns="4572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icsson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G Radio Access</a:t>
            </a: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7" name="Rectangle: Rounded Corners 86">
            <a:extLst>
              <a:ext uri="{FF2B5EF4-FFF2-40B4-BE49-F238E27FC236}">
                <a16:creationId xmlns="" xmlns:a16="http://schemas.microsoft.com/office/drawing/2014/main" id="{F4C9FCA5-61BA-404A-B7F5-CE2DE664B5C9}"/>
              </a:ext>
            </a:extLst>
          </p:cNvPr>
          <p:cNvSpPr/>
          <p:nvPr/>
        </p:nvSpPr>
        <p:spPr bwMode="auto">
          <a:xfrm>
            <a:off x="7528029" y="3882331"/>
            <a:ext cx="1982347" cy="982060"/>
          </a:xfrm>
          <a:prstGeom prst="roundRect">
            <a:avLst>
              <a:gd name="adj" fmla="val 4239"/>
            </a:avLst>
          </a:prstGeom>
          <a:solidFill>
            <a:schemeClr val="bg1">
              <a:alpha val="20000"/>
            </a:schemeClr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45720" rIns="72000" bIns="45720" numCol="1" rtlCol="0" anchor="ctr" anchorCtr="0" compatLnSpc="1">
            <a:prstTxWarp prst="textNoShape">
              <a:avLst/>
            </a:prstTxWarp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icsson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G Core System</a:t>
            </a: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4" name="Rectangle: Rounded Corners 2">
            <a:extLst>
              <a:ext uri="{FF2B5EF4-FFF2-40B4-BE49-F238E27FC236}">
                <a16:creationId xmlns="" xmlns:a16="http://schemas.microsoft.com/office/drawing/2014/main" id="{5E4F0D61-4087-44D0-A6FF-2B8CE45A5365}"/>
              </a:ext>
            </a:extLst>
          </p:cNvPr>
          <p:cNvSpPr/>
          <p:nvPr/>
        </p:nvSpPr>
        <p:spPr bwMode="auto">
          <a:xfrm>
            <a:off x="5467196" y="2454098"/>
            <a:ext cx="4043180" cy="706842"/>
          </a:xfrm>
          <a:prstGeom prst="roundRect">
            <a:avLst>
              <a:gd name="adj" fmla="val 27129"/>
            </a:avLst>
          </a:prstGeom>
          <a:solidFill>
            <a:schemeClr val="bg1">
              <a:alpha val="20000"/>
            </a:schemeClr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attaforma Servizi e Applicazioni</a:t>
            </a:r>
            <a:b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estione e Orchestrazione della ret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58E82458-17A5-4ABE-9EC5-9398102BEEFE}"/>
              </a:ext>
            </a:extLst>
          </p:cNvPr>
          <p:cNvGrpSpPr/>
          <p:nvPr/>
        </p:nvGrpSpPr>
        <p:grpSpPr>
          <a:xfrm>
            <a:off x="3120464" y="1926581"/>
            <a:ext cx="8575758" cy="4022419"/>
            <a:chOff x="3120464" y="1926581"/>
            <a:chExt cx="8575758" cy="4022419"/>
          </a:xfrm>
        </p:grpSpPr>
        <p:grpSp>
          <p:nvGrpSpPr>
            <p:cNvPr id="102" name="Group 101">
              <a:extLst>
                <a:ext uri="{FF2B5EF4-FFF2-40B4-BE49-F238E27FC236}">
                  <a16:creationId xmlns="" xmlns:a16="http://schemas.microsoft.com/office/drawing/2014/main" id="{90CE23D8-9A70-4976-B286-D52B4DC69C35}"/>
                </a:ext>
              </a:extLst>
            </p:cNvPr>
            <p:cNvGrpSpPr/>
            <p:nvPr/>
          </p:nvGrpSpPr>
          <p:grpSpPr>
            <a:xfrm>
              <a:off x="3923436" y="1926581"/>
              <a:ext cx="719504" cy="720244"/>
              <a:chOff x="1416219" y="2185030"/>
              <a:chExt cx="719504" cy="720244"/>
            </a:xfrm>
          </p:grpSpPr>
          <p:sp>
            <p:nvSpPr>
              <p:cNvPr id="103" name="Rounded Rectangle 103">
                <a:extLst>
                  <a:ext uri="{FF2B5EF4-FFF2-40B4-BE49-F238E27FC236}">
                    <a16:creationId xmlns="" xmlns:a16="http://schemas.microsoft.com/office/drawing/2014/main" id="{ADB71098-45B3-4213-807B-1A7B212DBC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6219" y="2185030"/>
                <a:ext cx="719504" cy="720244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20000"/>
                </a:schemeClr>
              </a:solidFill>
              <a:ln w="2540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71988" tIns="45718" rIns="71988" bIns="45718"/>
              <a:lstStyle>
                <a:lvl1pPr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Ericsson Sans Medium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4" name="Freeform 3">
                <a:extLst>
                  <a:ext uri="{FF2B5EF4-FFF2-40B4-BE49-F238E27FC236}">
                    <a16:creationId xmlns="" xmlns:a16="http://schemas.microsoft.com/office/drawing/2014/main" id="{16401B5B-7D18-4A95-8BFE-66C2AC43AF03}"/>
                  </a:ext>
                </a:extLst>
              </p:cNvPr>
              <p:cNvSpPr>
                <a:spLocks noChangeAspect="1" noEditPoint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569512" y="2375075"/>
                <a:ext cx="416116" cy="336470"/>
              </a:xfrm>
              <a:custGeom>
                <a:avLst/>
                <a:gdLst>
                  <a:gd name="T0" fmla="*/ 2147483647 w 418"/>
                  <a:gd name="T1" fmla="*/ 2147483647 h 336"/>
                  <a:gd name="T2" fmla="*/ 2147483647 w 418"/>
                  <a:gd name="T3" fmla="*/ 2147483647 h 336"/>
                  <a:gd name="T4" fmla="*/ 2147483647 w 418"/>
                  <a:gd name="T5" fmla="*/ 2147483647 h 336"/>
                  <a:gd name="T6" fmla="*/ 2147483647 w 418"/>
                  <a:gd name="T7" fmla="*/ 2147483647 h 336"/>
                  <a:gd name="T8" fmla="*/ 2147483647 w 418"/>
                  <a:gd name="T9" fmla="*/ 2147483647 h 336"/>
                  <a:gd name="T10" fmla="*/ 2147483647 w 418"/>
                  <a:gd name="T11" fmla="*/ 2147483647 h 336"/>
                  <a:gd name="T12" fmla="*/ 2147483647 w 418"/>
                  <a:gd name="T13" fmla="*/ 2147483647 h 336"/>
                  <a:gd name="T14" fmla="*/ 2147483647 w 418"/>
                  <a:gd name="T15" fmla="*/ 2147483647 h 336"/>
                  <a:gd name="T16" fmla="*/ 2147483647 w 418"/>
                  <a:gd name="T17" fmla="*/ 2147483647 h 336"/>
                  <a:gd name="T18" fmla="*/ 2147483647 w 418"/>
                  <a:gd name="T19" fmla="*/ 2147483647 h 336"/>
                  <a:gd name="T20" fmla="*/ 2147483647 w 418"/>
                  <a:gd name="T21" fmla="*/ 2147483647 h 336"/>
                  <a:gd name="T22" fmla="*/ 2147483647 w 418"/>
                  <a:gd name="T23" fmla="*/ 2147483647 h 336"/>
                  <a:gd name="T24" fmla="*/ 2147483647 w 418"/>
                  <a:gd name="T25" fmla="*/ 2147483647 h 336"/>
                  <a:gd name="T26" fmla="*/ 2147483647 w 418"/>
                  <a:gd name="T27" fmla="*/ 2147483647 h 336"/>
                  <a:gd name="T28" fmla="*/ 2147483647 w 418"/>
                  <a:gd name="T29" fmla="*/ 2147483647 h 336"/>
                  <a:gd name="T30" fmla="*/ 2147483647 w 418"/>
                  <a:gd name="T31" fmla="*/ 2147483647 h 336"/>
                  <a:gd name="T32" fmla="*/ 2147483647 w 418"/>
                  <a:gd name="T33" fmla="*/ 2147483647 h 336"/>
                  <a:gd name="T34" fmla="*/ 2147483647 w 418"/>
                  <a:gd name="T35" fmla="*/ 2147483647 h 336"/>
                  <a:gd name="T36" fmla="*/ 2147483647 w 418"/>
                  <a:gd name="T37" fmla="*/ 2147483647 h 336"/>
                  <a:gd name="T38" fmla="*/ 2147483647 w 418"/>
                  <a:gd name="T39" fmla="*/ 2147483647 h 336"/>
                  <a:gd name="T40" fmla="*/ 2147483647 w 418"/>
                  <a:gd name="T41" fmla="*/ 2147483647 h 336"/>
                  <a:gd name="T42" fmla="*/ 2147483647 w 418"/>
                  <a:gd name="T43" fmla="*/ 2147483647 h 336"/>
                  <a:gd name="T44" fmla="*/ 2147483647 w 418"/>
                  <a:gd name="T45" fmla="*/ 2147483647 h 336"/>
                  <a:gd name="T46" fmla="*/ 2147483647 w 418"/>
                  <a:gd name="T47" fmla="*/ 2147483647 h 336"/>
                  <a:gd name="T48" fmla="*/ 2147483647 w 418"/>
                  <a:gd name="T49" fmla="*/ 2147483647 h 336"/>
                  <a:gd name="T50" fmla="*/ 2147483647 w 418"/>
                  <a:gd name="T51" fmla="*/ 2147483647 h 336"/>
                  <a:gd name="T52" fmla="*/ 2147483647 w 418"/>
                  <a:gd name="T53" fmla="*/ 2147483647 h 336"/>
                  <a:gd name="T54" fmla="*/ 2147483647 w 418"/>
                  <a:gd name="T55" fmla="*/ 2147483647 h 336"/>
                  <a:gd name="T56" fmla="*/ 2147483647 w 418"/>
                  <a:gd name="T57" fmla="*/ 2147483647 h 336"/>
                  <a:gd name="T58" fmla="*/ 2147483647 w 418"/>
                  <a:gd name="T59" fmla="*/ 2147483647 h 336"/>
                  <a:gd name="T60" fmla="*/ 2147483647 w 418"/>
                  <a:gd name="T61" fmla="*/ 2147483647 h 336"/>
                  <a:gd name="T62" fmla="*/ 2147483647 w 418"/>
                  <a:gd name="T63" fmla="*/ 2147483647 h 336"/>
                  <a:gd name="T64" fmla="*/ 2147483647 w 418"/>
                  <a:gd name="T65" fmla="*/ 2147483647 h 336"/>
                  <a:gd name="T66" fmla="*/ 2147483647 w 418"/>
                  <a:gd name="T67" fmla="*/ 2147483647 h 336"/>
                  <a:gd name="T68" fmla="*/ 2147483647 w 418"/>
                  <a:gd name="T69" fmla="*/ 2147483647 h 336"/>
                  <a:gd name="T70" fmla="*/ 2147483647 w 418"/>
                  <a:gd name="T71" fmla="*/ 2147483647 h 336"/>
                  <a:gd name="T72" fmla="*/ 2147483647 w 418"/>
                  <a:gd name="T73" fmla="*/ 2147483647 h 336"/>
                  <a:gd name="T74" fmla="*/ 2147483647 w 418"/>
                  <a:gd name="T75" fmla="*/ 2147483647 h 336"/>
                  <a:gd name="T76" fmla="*/ 2147483647 w 418"/>
                  <a:gd name="T77" fmla="*/ 2147483647 h 336"/>
                  <a:gd name="T78" fmla="*/ 2147483647 w 418"/>
                  <a:gd name="T79" fmla="*/ 2147483647 h 336"/>
                  <a:gd name="T80" fmla="*/ 2147483647 w 418"/>
                  <a:gd name="T81" fmla="*/ 2147483647 h 336"/>
                  <a:gd name="T82" fmla="*/ 2147483647 w 418"/>
                  <a:gd name="T83" fmla="*/ 2147483647 h 336"/>
                  <a:gd name="T84" fmla="*/ 2147483647 w 418"/>
                  <a:gd name="T85" fmla="*/ 2147483647 h 336"/>
                  <a:gd name="T86" fmla="*/ 2147483647 w 418"/>
                  <a:gd name="T87" fmla="*/ 2147483647 h 336"/>
                  <a:gd name="T88" fmla="*/ 2147483647 w 418"/>
                  <a:gd name="T89" fmla="*/ 0 h 336"/>
                  <a:gd name="T90" fmla="*/ 2147483647 w 418"/>
                  <a:gd name="T91" fmla="*/ 0 h 336"/>
                  <a:gd name="T92" fmla="*/ 2147483647 w 418"/>
                  <a:gd name="T93" fmla="*/ 2147483647 h 336"/>
                  <a:gd name="T94" fmla="*/ 2147483647 w 418"/>
                  <a:gd name="T95" fmla="*/ 2147483647 h 336"/>
                  <a:gd name="T96" fmla="*/ 2147483647 w 418"/>
                  <a:gd name="T97" fmla="*/ 2147483647 h 336"/>
                  <a:gd name="T98" fmla="*/ 0 w 418"/>
                  <a:gd name="T99" fmla="*/ 2147483647 h 336"/>
                  <a:gd name="T100" fmla="*/ 0 w 418"/>
                  <a:gd name="T101" fmla="*/ 2147483647 h 336"/>
                  <a:gd name="T102" fmla="*/ 2147483647 w 418"/>
                  <a:gd name="T103" fmla="*/ 2147483647 h 336"/>
                  <a:gd name="T104" fmla="*/ 2147483647 w 418"/>
                  <a:gd name="T105" fmla="*/ 2147483647 h 336"/>
                  <a:gd name="T106" fmla="*/ 2147483647 w 418"/>
                  <a:gd name="T107" fmla="*/ 2147483647 h 336"/>
                  <a:gd name="T108" fmla="*/ 2147483647 w 418"/>
                  <a:gd name="T109" fmla="*/ 2147483647 h 336"/>
                  <a:gd name="T110" fmla="*/ 2147483647 w 418"/>
                  <a:gd name="T111" fmla="*/ 2147483647 h 336"/>
                  <a:gd name="T112" fmla="*/ 2147483647 w 418"/>
                  <a:gd name="T113" fmla="*/ 2147483647 h 336"/>
                  <a:gd name="T114" fmla="*/ 2147483647 w 418"/>
                  <a:gd name="T115" fmla="*/ 2147483647 h 336"/>
                  <a:gd name="T116" fmla="*/ 2147483647 w 418"/>
                  <a:gd name="T117" fmla="*/ 2147483647 h 336"/>
                  <a:gd name="T118" fmla="*/ 2147483647 w 418"/>
                  <a:gd name="T119" fmla="*/ 2147483647 h 336"/>
                  <a:gd name="T120" fmla="*/ 2147483647 w 418"/>
                  <a:gd name="T121" fmla="*/ 2147483647 h 336"/>
                  <a:gd name="T122" fmla="*/ 2147483647 w 418"/>
                  <a:gd name="T123" fmla="*/ 2147483647 h 336"/>
                  <a:gd name="T124" fmla="*/ 2147483647 w 418"/>
                  <a:gd name="T125" fmla="*/ 2147483647 h 3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418"/>
                  <a:gd name="T190" fmla="*/ 0 h 336"/>
                  <a:gd name="T191" fmla="*/ 418 w 418"/>
                  <a:gd name="T192" fmla="*/ 336 h 3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418" h="336">
                    <a:moveTo>
                      <a:pt x="103" y="187"/>
                    </a:moveTo>
                    <a:cubicBezTo>
                      <a:pt x="103" y="246"/>
                      <a:pt x="150" y="293"/>
                      <a:pt x="209" y="293"/>
                    </a:cubicBezTo>
                    <a:cubicBezTo>
                      <a:pt x="267" y="293"/>
                      <a:pt x="315" y="246"/>
                      <a:pt x="315" y="187"/>
                    </a:cubicBezTo>
                    <a:cubicBezTo>
                      <a:pt x="315" y="129"/>
                      <a:pt x="267" y="82"/>
                      <a:pt x="209" y="82"/>
                    </a:cubicBezTo>
                    <a:cubicBezTo>
                      <a:pt x="150" y="82"/>
                      <a:pt x="103" y="129"/>
                      <a:pt x="103" y="187"/>
                    </a:cubicBezTo>
                    <a:close/>
                    <a:moveTo>
                      <a:pt x="235" y="130"/>
                    </a:moveTo>
                    <a:cubicBezTo>
                      <a:pt x="235" y="161"/>
                      <a:pt x="235" y="161"/>
                      <a:pt x="235" y="161"/>
                    </a:cubicBezTo>
                    <a:cubicBezTo>
                      <a:pt x="266" y="161"/>
                      <a:pt x="266" y="161"/>
                      <a:pt x="266" y="161"/>
                    </a:cubicBezTo>
                    <a:cubicBezTo>
                      <a:pt x="275" y="161"/>
                      <a:pt x="282" y="168"/>
                      <a:pt x="282" y="177"/>
                    </a:cubicBezTo>
                    <a:cubicBezTo>
                      <a:pt x="282" y="198"/>
                      <a:pt x="282" y="198"/>
                      <a:pt x="282" y="198"/>
                    </a:cubicBezTo>
                    <a:cubicBezTo>
                      <a:pt x="282" y="207"/>
                      <a:pt x="275" y="214"/>
                      <a:pt x="266" y="214"/>
                    </a:cubicBezTo>
                    <a:cubicBezTo>
                      <a:pt x="235" y="214"/>
                      <a:pt x="235" y="214"/>
                      <a:pt x="235" y="214"/>
                    </a:cubicBezTo>
                    <a:cubicBezTo>
                      <a:pt x="235" y="245"/>
                      <a:pt x="235" y="245"/>
                      <a:pt x="235" y="245"/>
                    </a:cubicBezTo>
                    <a:cubicBezTo>
                      <a:pt x="235" y="254"/>
                      <a:pt x="228" y="261"/>
                      <a:pt x="219" y="261"/>
                    </a:cubicBezTo>
                    <a:cubicBezTo>
                      <a:pt x="198" y="261"/>
                      <a:pt x="198" y="261"/>
                      <a:pt x="198" y="261"/>
                    </a:cubicBezTo>
                    <a:cubicBezTo>
                      <a:pt x="189" y="261"/>
                      <a:pt x="182" y="254"/>
                      <a:pt x="182" y="245"/>
                    </a:cubicBezTo>
                    <a:cubicBezTo>
                      <a:pt x="182" y="214"/>
                      <a:pt x="182" y="214"/>
                      <a:pt x="182" y="214"/>
                    </a:cubicBezTo>
                    <a:cubicBezTo>
                      <a:pt x="152" y="214"/>
                      <a:pt x="152" y="214"/>
                      <a:pt x="152" y="214"/>
                    </a:cubicBezTo>
                    <a:cubicBezTo>
                      <a:pt x="143" y="214"/>
                      <a:pt x="136" y="207"/>
                      <a:pt x="136" y="198"/>
                    </a:cubicBezTo>
                    <a:cubicBezTo>
                      <a:pt x="136" y="177"/>
                      <a:pt x="136" y="177"/>
                      <a:pt x="136" y="177"/>
                    </a:cubicBezTo>
                    <a:cubicBezTo>
                      <a:pt x="136" y="168"/>
                      <a:pt x="143" y="161"/>
                      <a:pt x="152" y="161"/>
                    </a:cubicBezTo>
                    <a:cubicBezTo>
                      <a:pt x="182" y="161"/>
                      <a:pt x="182" y="161"/>
                      <a:pt x="182" y="161"/>
                    </a:cubicBezTo>
                    <a:cubicBezTo>
                      <a:pt x="182" y="130"/>
                      <a:pt x="182" y="130"/>
                      <a:pt x="182" y="130"/>
                    </a:cubicBezTo>
                    <a:cubicBezTo>
                      <a:pt x="182" y="121"/>
                      <a:pt x="189" y="114"/>
                      <a:pt x="198" y="114"/>
                    </a:cubicBezTo>
                    <a:cubicBezTo>
                      <a:pt x="219" y="114"/>
                      <a:pt x="219" y="114"/>
                      <a:pt x="219" y="114"/>
                    </a:cubicBezTo>
                    <a:cubicBezTo>
                      <a:pt x="228" y="114"/>
                      <a:pt x="235" y="121"/>
                      <a:pt x="235" y="130"/>
                    </a:cubicBezTo>
                    <a:close/>
                    <a:moveTo>
                      <a:pt x="410" y="102"/>
                    </a:moveTo>
                    <a:cubicBezTo>
                      <a:pt x="405" y="102"/>
                      <a:pt x="402" y="106"/>
                      <a:pt x="402" y="110"/>
                    </a:cubicBezTo>
                    <a:cubicBezTo>
                      <a:pt x="402" y="110"/>
                      <a:pt x="402" y="110"/>
                      <a:pt x="402" y="110"/>
                    </a:cubicBezTo>
                    <a:cubicBezTo>
                      <a:pt x="402" y="311"/>
                      <a:pt x="402" y="311"/>
                      <a:pt x="402" y="311"/>
                    </a:cubicBezTo>
                    <a:cubicBezTo>
                      <a:pt x="402" y="316"/>
                      <a:pt x="397" y="320"/>
                      <a:pt x="392" y="320"/>
                    </a:cubicBezTo>
                    <a:cubicBezTo>
                      <a:pt x="25" y="320"/>
                      <a:pt x="25" y="320"/>
                      <a:pt x="25" y="320"/>
                    </a:cubicBezTo>
                    <a:cubicBezTo>
                      <a:pt x="20" y="320"/>
                      <a:pt x="16" y="316"/>
                      <a:pt x="16" y="311"/>
                    </a:cubicBezTo>
                    <a:cubicBezTo>
                      <a:pt x="16" y="64"/>
                      <a:pt x="16" y="64"/>
                      <a:pt x="16" y="64"/>
                    </a:cubicBezTo>
                    <a:cubicBezTo>
                      <a:pt x="16" y="59"/>
                      <a:pt x="20" y="55"/>
                      <a:pt x="25" y="55"/>
                    </a:cubicBezTo>
                    <a:cubicBezTo>
                      <a:pt x="392" y="55"/>
                      <a:pt x="392" y="55"/>
                      <a:pt x="392" y="55"/>
                    </a:cubicBezTo>
                    <a:cubicBezTo>
                      <a:pt x="397" y="55"/>
                      <a:pt x="402" y="59"/>
                      <a:pt x="402" y="64"/>
                    </a:cubicBezTo>
                    <a:cubicBezTo>
                      <a:pt x="402" y="78"/>
                      <a:pt x="402" y="78"/>
                      <a:pt x="402" y="78"/>
                    </a:cubicBezTo>
                    <a:cubicBezTo>
                      <a:pt x="402" y="82"/>
                      <a:pt x="405" y="86"/>
                      <a:pt x="410" y="86"/>
                    </a:cubicBezTo>
                    <a:cubicBezTo>
                      <a:pt x="414" y="86"/>
                      <a:pt x="418" y="82"/>
                      <a:pt x="418" y="78"/>
                    </a:cubicBezTo>
                    <a:cubicBezTo>
                      <a:pt x="418" y="64"/>
                      <a:pt x="418" y="64"/>
                      <a:pt x="418" y="64"/>
                    </a:cubicBezTo>
                    <a:cubicBezTo>
                      <a:pt x="418" y="50"/>
                      <a:pt x="406" y="39"/>
                      <a:pt x="392" y="39"/>
                    </a:cubicBezTo>
                    <a:cubicBezTo>
                      <a:pt x="286" y="39"/>
                      <a:pt x="286" y="39"/>
                      <a:pt x="286" y="39"/>
                    </a:cubicBezTo>
                    <a:cubicBezTo>
                      <a:pt x="286" y="24"/>
                      <a:pt x="286" y="24"/>
                      <a:pt x="286" y="24"/>
                    </a:cubicBezTo>
                    <a:cubicBezTo>
                      <a:pt x="286" y="11"/>
                      <a:pt x="275" y="0"/>
                      <a:pt x="262" y="0"/>
                    </a:cubicBezTo>
                    <a:cubicBezTo>
                      <a:pt x="156" y="0"/>
                      <a:pt x="156" y="0"/>
                      <a:pt x="156" y="0"/>
                    </a:cubicBezTo>
                    <a:cubicBezTo>
                      <a:pt x="143" y="0"/>
                      <a:pt x="132" y="11"/>
                      <a:pt x="132" y="24"/>
                    </a:cubicBezTo>
                    <a:cubicBezTo>
                      <a:pt x="132" y="39"/>
                      <a:pt x="132" y="39"/>
                      <a:pt x="132" y="39"/>
                    </a:cubicBezTo>
                    <a:cubicBezTo>
                      <a:pt x="25" y="39"/>
                      <a:pt x="25" y="39"/>
                      <a:pt x="25" y="39"/>
                    </a:cubicBezTo>
                    <a:cubicBezTo>
                      <a:pt x="11" y="39"/>
                      <a:pt x="0" y="50"/>
                      <a:pt x="0" y="64"/>
                    </a:cubicBezTo>
                    <a:cubicBezTo>
                      <a:pt x="0" y="311"/>
                      <a:pt x="0" y="311"/>
                      <a:pt x="0" y="311"/>
                    </a:cubicBezTo>
                    <a:cubicBezTo>
                      <a:pt x="0" y="325"/>
                      <a:pt x="11" y="336"/>
                      <a:pt x="25" y="336"/>
                    </a:cubicBezTo>
                    <a:cubicBezTo>
                      <a:pt x="392" y="336"/>
                      <a:pt x="392" y="336"/>
                      <a:pt x="392" y="336"/>
                    </a:cubicBezTo>
                    <a:cubicBezTo>
                      <a:pt x="406" y="336"/>
                      <a:pt x="418" y="325"/>
                      <a:pt x="418" y="311"/>
                    </a:cubicBezTo>
                    <a:cubicBezTo>
                      <a:pt x="418" y="110"/>
                      <a:pt x="418" y="110"/>
                      <a:pt x="418" y="110"/>
                    </a:cubicBezTo>
                    <a:cubicBezTo>
                      <a:pt x="418" y="106"/>
                      <a:pt x="414" y="102"/>
                      <a:pt x="410" y="102"/>
                    </a:cubicBezTo>
                    <a:close/>
                    <a:moveTo>
                      <a:pt x="156" y="16"/>
                    </a:moveTo>
                    <a:cubicBezTo>
                      <a:pt x="262" y="16"/>
                      <a:pt x="262" y="16"/>
                      <a:pt x="262" y="16"/>
                    </a:cubicBezTo>
                    <a:cubicBezTo>
                      <a:pt x="266" y="16"/>
                      <a:pt x="270" y="19"/>
                      <a:pt x="270" y="24"/>
                    </a:cubicBezTo>
                    <a:cubicBezTo>
                      <a:pt x="270" y="39"/>
                      <a:pt x="270" y="39"/>
                      <a:pt x="270" y="39"/>
                    </a:cubicBezTo>
                    <a:cubicBezTo>
                      <a:pt x="148" y="39"/>
                      <a:pt x="148" y="39"/>
                      <a:pt x="148" y="39"/>
                    </a:cubicBezTo>
                    <a:cubicBezTo>
                      <a:pt x="148" y="24"/>
                      <a:pt x="148" y="24"/>
                      <a:pt x="148" y="24"/>
                    </a:cubicBezTo>
                    <a:cubicBezTo>
                      <a:pt x="148" y="19"/>
                      <a:pt x="151" y="16"/>
                      <a:pt x="156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91436" tIns="45718" rIns="91436" bIns="45718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8585A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05" name="Rounded Rectangle 103">
              <a:extLst>
                <a:ext uri="{FF2B5EF4-FFF2-40B4-BE49-F238E27FC236}">
                  <a16:creationId xmlns="" xmlns:a16="http://schemas.microsoft.com/office/drawing/2014/main" id="{8614E5AA-C7D5-4FB7-A24E-2BD621A7C6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38780" y="3957006"/>
              <a:ext cx="719504" cy="720244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20000"/>
              </a:schemeClr>
            </a:solidFill>
            <a:ln w="25400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71988" tIns="45718" rIns="71988" bIns="45718"/>
            <a:lstStyle>
              <a:lvl1pPr>
                <a:defRPr sz="2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Ericsson Sans Medium" charset="0"/>
                <a:cs typeface="Arial" panose="020B0604020202020204" pitchFamily="34" charset="0"/>
              </a:endParaRPr>
            </a:p>
          </p:txBody>
        </p:sp>
        <p:sp>
          <p:nvSpPr>
            <p:cNvPr id="106" name="Freeform 3">
              <a:extLst>
                <a:ext uri="{FF2B5EF4-FFF2-40B4-BE49-F238E27FC236}">
                  <a16:creationId xmlns="" xmlns:a16="http://schemas.microsoft.com/office/drawing/2014/main" id="{7B8B2309-9AF0-4948-B5BA-E1823CA6CBA5}"/>
                </a:ext>
              </a:extLst>
            </p:cNvPr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3283067" y="4111685"/>
              <a:ext cx="434130" cy="410885"/>
            </a:xfrm>
            <a:custGeom>
              <a:avLst/>
              <a:gdLst>
                <a:gd name="T0" fmla="*/ 2147483647 w 395"/>
                <a:gd name="T1" fmla="*/ 2147483647 h 395"/>
                <a:gd name="T2" fmla="*/ 2147483647 w 395"/>
                <a:gd name="T3" fmla="*/ 2147483647 h 395"/>
                <a:gd name="T4" fmla="*/ 2147483647 w 395"/>
                <a:gd name="T5" fmla="*/ 2147483647 h 395"/>
                <a:gd name="T6" fmla="*/ 2147483647 w 395"/>
                <a:gd name="T7" fmla="*/ 2147483647 h 395"/>
                <a:gd name="T8" fmla="*/ 2147483647 w 395"/>
                <a:gd name="T9" fmla="*/ 0 h 395"/>
                <a:gd name="T10" fmla="*/ 2147483647 w 395"/>
                <a:gd name="T11" fmla="*/ 2147483647 h 395"/>
                <a:gd name="T12" fmla="*/ 2147483647 w 395"/>
                <a:gd name="T13" fmla="*/ 2147483647 h 395"/>
                <a:gd name="T14" fmla="*/ 2147483647 w 395"/>
                <a:gd name="T15" fmla="*/ 2147483647 h 395"/>
                <a:gd name="T16" fmla="*/ 2147483647 w 395"/>
                <a:gd name="T17" fmla="*/ 2147483647 h 395"/>
                <a:gd name="T18" fmla="*/ 2147483647 w 395"/>
                <a:gd name="T19" fmla="*/ 2147483647 h 395"/>
                <a:gd name="T20" fmla="*/ 2147483647 w 395"/>
                <a:gd name="T21" fmla="*/ 2147483647 h 395"/>
                <a:gd name="T22" fmla="*/ 2147483647 w 395"/>
                <a:gd name="T23" fmla="*/ 2147483647 h 395"/>
                <a:gd name="T24" fmla="*/ 2147483647 w 395"/>
                <a:gd name="T25" fmla="*/ 2147483647 h 395"/>
                <a:gd name="T26" fmla="*/ 2147483647 w 395"/>
                <a:gd name="T27" fmla="*/ 2147483647 h 395"/>
                <a:gd name="T28" fmla="*/ 2147483647 w 395"/>
                <a:gd name="T29" fmla="*/ 2147483647 h 395"/>
                <a:gd name="T30" fmla="*/ 2147483647 w 395"/>
                <a:gd name="T31" fmla="*/ 2147483647 h 395"/>
                <a:gd name="T32" fmla="*/ 2147483647 w 395"/>
                <a:gd name="T33" fmla="*/ 2147483647 h 395"/>
                <a:gd name="T34" fmla="*/ 2147483647 w 395"/>
                <a:gd name="T35" fmla="*/ 2147483647 h 395"/>
                <a:gd name="T36" fmla="*/ 2147483647 w 395"/>
                <a:gd name="T37" fmla="*/ 2147483647 h 395"/>
                <a:gd name="T38" fmla="*/ 2147483647 w 395"/>
                <a:gd name="T39" fmla="*/ 2147483647 h 395"/>
                <a:gd name="T40" fmla="*/ 2147483647 w 395"/>
                <a:gd name="T41" fmla="*/ 2147483647 h 395"/>
                <a:gd name="T42" fmla="*/ 2147483647 w 395"/>
                <a:gd name="T43" fmla="*/ 2147483647 h 395"/>
                <a:gd name="T44" fmla="*/ 2147483647 w 395"/>
                <a:gd name="T45" fmla="*/ 2147483647 h 395"/>
                <a:gd name="T46" fmla="*/ 2147483647 w 395"/>
                <a:gd name="T47" fmla="*/ 2147483647 h 395"/>
                <a:gd name="T48" fmla="*/ 2147483647 w 395"/>
                <a:gd name="T49" fmla="*/ 2147483647 h 395"/>
                <a:gd name="T50" fmla="*/ 2147483647 w 395"/>
                <a:gd name="T51" fmla="*/ 2147483647 h 395"/>
                <a:gd name="T52" fmla="*/ 2147483647 w 395"/>
                <a:gd name="T53" fmla="*/ 2147483647 h 395"/>
                <a:gd name="T54" fmla="*/ 2147483647 w 395"/>
                <a:gd name="T55" fmla="*/ 2147483647 h 395"/>
                <a:gd name="T56" fmla="*/ 2147483647 w 395"/>
                <a:gd name="T57" fmla="*/ 2147483647 h 395"/>
                <a:gd name="T58" fmla="*/ 2147483647 w 395"/>
                <a:gd name="T59" fmla="*/ 2147483647 h 395"/>
                <a:gd name="T60" fmla="*/ 2147483647 w 395"/>
                <a:gd name="T61" fmla="*/ 2147483647 h 395"/>
                <a:gd name="T62" fmla="*/ 2147483647 w 395"/>
                <a:gd name="T63" fmla="*/ 2147483647 h 395"/>
                <a:gd name="T64" fmla="*/ 2147483647 w 395"/>
                <a:gd name="T65" fmla="*/ 2147483647 h 395"/>
                <a:gd name="T66" fmla="*/ 2147483647 w 395"/>
                <a:gd name="T67" fmla="*/ 2147483647 h 395"/>
                <a:gd name="T68" fmla="*/ 2147483647 w 395"/>
                <a:gd name="T69" fmla="*/ 2147483647 h 395"/>
                <a:gd name="T70" fmla="*/ 2147483647 w 395"/>
                <a:gd name="T71" fmla="*/ 2147483647 h 395"/>
                <a:gd name="T72" fmla="*/ 2147483647 w 395"/>
                <a:gd name="T73" fmla="*/ 2147483647 h 395"/>
                <a:gd name="T74" fmla="*/ 2147483647 w 395"/>
                <a:gd name="T75" fmla="*/ 2147483647 h 395"/>
                <a:gd name="T76" fmla="*/ 2147483647 w 395"/>
                <a:gd name="T77" fmla="*/ 2147483647 h 395"/>
                <a:gd name="T78" fmla="*/ 2147483647 w 395"/>
                <a:gd name="T79" fmla="*/ 2147483647 h 395"/>
                <a:gd name="T80" fmla="*/ 2147483647 w 395"/>
                <a:gd name="T81" fmla="*/ 2147483647 h 395"/>
                <a:gd name="T82" fmla="*/ 2147483647 w 395"/>
                <a:gd name="T83" fmla="*/ 2147483647 h 395"/>
                <a:gd name="T84" fmla="*/ 2147483647 w 395"/>
                <a:gd name="T85" fmla="*/ 2147483647 h 395"/>
                <a:gd name="T86" fmla="*/ 2147483647 w 395"/>
                <a:gd name="T87" fmla="*/ 2147483647 h 395"/>
                <a:gd name="T88" fmla="*/ 2147483647 w 395"/>
                <a:gd name="T89" fmla="*/ 2147483647 h 395"/>
                <a:gd name="T90" fmla="*/ 2147483647 w 395"/>
                <a:gd name="T91" fmla="*/ 2147483647 h 395"/>
                <a:gd name="T92" fmla="*/ 2147483647 w 395"/>
                <a:gd name="T93" fmla="*/ 2147483647 h 395"/>
                <a:gd name="T94" fmla="*/ 2147483647 w 395"/>
                <a:gd name="T95" fmla="*/ 2147483647 h 395"/>
                <a:gd name="T96" fmla="*/ 2147483647 w 395"/>
                <a:gd name="T97" fmla="*/ 2147483647 h 395"/>
                <a:gd name="T98" fmla="*/ 2147483647 w 395"/>
                <a:gd name="T99" fmla="*/ 2147483647 h 395"/>
                <a:gd name="T100" fmla="*/ 2147483647 w 395"/>
                <a:gd name="T101" fmla="*/ 2147483647 h 395"/>
                <a:gd name="T102" fmla="*/ 2147483647 w 395"/>
                <a:gd name="T103" fmla="*/ 2147483647 h 395"/>
                <a:gd name="T104" fmla="*/ 2147483647 w 395"/>
                <a:gd name="T105" fmla="*/ 2147483647 h 395"/>
                <a:gd name="T106" fmla="*/ 2147483647 w 395"/>
                <a:gd name="T107" fmla="*/ 2147483647 h 395"/>
                <a:gd name="T108" fmla="*/ 2147483647 w 395"/>
                <a:gd name="T109" fmla="*/ 2147483647 h 395"/>
                <a:gd name="T110" fmla="*/ 2147483647 w 395"/>
                <a:gd name="T111" fmla="*/ 2147483647 h 395"/>
                <a:gd name="T112" fmla="*/ 2147483647 w 395"/>
                <a:gd name="T113" fmla="*/ 2147483647 h 395"/>
                <a:gd name="T114" fmla="*/ 2147483647 w 395"/>
                <a:gd name="T115" fmla="*/ 2147483647 h 395"/>
                <a:gd name="T116" fmla="*/ 2147483647 w 395"/>
                <a:gd name="T117" fmla="*/ 2147483647 h 395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95"/>
                <a:gd name="T178" fmla="*/ 0 h 395"/>
                <a:gd name="T179" fmla="*/ 395 w 395"/>
                <a:gd name="T180" fmla="*/ 395 h 395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95" h="395">
                  <a:moveTo>
                    <a:pt x="348" y="70"/>
                  </a:moveTo>
                  <a:cubicBezTo>
                    <a:pt x="346" y="67"/>
                    <a:pt x="341" y="66"/>
                    <a:pt x="337" y="69"/>
                  </a:cubicBezTo>
                  <a:cubicBezTo>
                    <a:pt x="334" y="72"/>
                    <a:pt x="333" y="77"/>
                    <a:pt x="336" y="80"/>
                  </a:cubicBezTo>
                  <a:cubicBezTo>
                    <a:pt x="363" y="112"/>
                    <a:pt x="379" y="153"/>
                    <a:pt x="379" y="197"/>
                  </a:cubicBezTo>
                  <a:cubicBezTo>
                    <a:pt x="379" y="247"/>
                    <a:pt x="359" y="293"/>
                    <a:pt x="326" y="325"/>
                  </a:cubicBezTo>
                  <a:cubicBezTo>
                    <a:pt x="293" y="358"/>
                    <a:pt x="248" y="379"/>
                    <a:pt x="198" y="379"/>
                  </a:cubicBezTo>
                  <a:cubicBezTo>
                    <a:pt x="148" y="379"/>
                    <a:pt x="102" y="358"/>
                    <a:pt x="69" y="325"/>
                  </a:cubicBezTo>
                  <a:cubicBezTo>
                    <a:pt x="37" y="293"/>
                    <a:pt x="16" y="247"/>
                    <a:pt x="16" y="197"/>
                  </a:cubicBezTo>
                  <a:cubicBezTo>
                    <a:pt x="16" y="147"/>
                    <a:pt x="37" y="102"/>
                    <a:pt x="69" y="69"/>
                  </a:cubicBezTo>
                  <a:cubicBezTo>
                    <a:pt x="102" y="36"/>
                    <a:pt x="148" y="16"/>
                    <a:pt x="198" y="16"/>
                  </a:cubicBezTo>
                  <a:cubicBezTo>
                    <a:pt x="242" y="16"/>
                    <a:pt x="283" y="32"/>
                    <a:pt x="315" y="59"/>
                  </a:cubicBezTo>
                  <a:cubicBezTo>
                    <a:pt x="318" y="62"/>
                    <a:pt x="323" y="61"/>
                    <a:pt x="326" y="58"/>
                  </a:cubicBezTo>
                  <a:cubicBezTo>
                    <a:pt x="329" y="54"/>
                    <a:pt x="328" y="49"/>
                    <a:pt x="325" y="46"/>
                  </a:cubicBezTo>
                  <a:cubicBezTo>
                    <a:pt x="325" y="46"/>
                    <a:pt x="325" y="46"/>
                    <a:pt x="325" y="46"/>
                  </a:cubicBezTo>
                  <a:cubicBezTo>
                    <a:pt x="291" y="17"/>
                    <a:pt x="246" y="0"/>
                    <a:pt x="198" y="0"/>
                  </a:cubicBezTo>
                  <a:cubicBezTo>
                    <a:pt x="89" y="0"/>
                    <a:pt x="0" y="88"/>
                    <a:pt x="0" y="197"/>
                  </a:cubicBezTo>
                  <a:cubicBezTo>
                    <a:pt x="0" y="306"/>
                    <a:pt x="89" y="395"/>
                    <a:pt x="198" y="395"/>
                  </a:cubicBezTo>
                  <a:cubicBezTo>
                    <a:pt x="307" y="395"/>
                    <a:pt x="395" y="306"/>
                    <a:pt x="395" y="197"/>
                  </a:cubicBezTo>
                  <a:cubicBezTo>
                    <a:pt x="395" y="149"/>
                    <a:pt x="378" y="104"/>
                    <a:pt x="348" y="70"/>
                  </a:cubicBezTo>
                  <a:close/>
                  <a:moveTo>
                    <a:pt x="75" y="300"/>
                  </a:moveTo>
                  <a:cubicBezTo>
                    <a:pt x="320" y="300"/>
                    <a:pt x="320" y="300"/>
                    <a:pt x="320" y="300"/>
                  </a:cubicBezTo>
                  <a:cubicBezTo>
                    <a:pt x="324" y="300"/>
                    <a:pt x="328" y="296"/>
                    <a:pt x="328" y="292"/>
                  </a:cubicBezTo>
                  <a:cubicBezTo>
                    <a:pt x="328" y="287"/>
                    <a:pt x="324" y="284"/>
                    <a:pt x="320" y="284"/>
                  </a:cubicBezTo>
                  <a:cubicBezTo>
                    <a:pt x="75" y="284"/>
                    <a:pt x="75" y="284"/>
                    <a:pt x="75" y="284"/>
                  </a:cubicBezTo>
                  <a:cubicBezTo>
                    <a:pt x="71" y="284"/>
                    <a:pt x="67" y="287"/>
                    <a:pt x="67" y="292"/>
                  </a:cubicBezTo>
                  <a:cubicBezTo>
                    <a:pt x="67" y="296"/>
                    <a:pt x="71" y="300"/>
                    <a:pt x="75" y="300"/>
                  </a:cubicBezTo>
                  <a:close/>
                  <a:moveTo>
                    <a:pt x="328" y="103"/>
                  </a:moveTo>
                  <a:cubicBezTo>
                    <a:pt x="328" y="98"/>
                    <a:pt x="324" y="95"/>
                    <a:pt x="320" y="95"/>
                  </a:cubicBezTo>
                  <a:cubicBezTo>
                    <a:pt x="75" y="95"/>
                    <a:pt x="75" y="95"/>
                    <a:pt x="75" y="95"/>
                  </a:cubicBezTo>
                  <a:cubicBezTo>
                    <a:pt x="71" y="95"/>
                    <a:pt x="67" y="98"/>
                    <a:pt x="67" y="103"/>
                  </a:cubicBezTo>
                  <a:cubicBezTo>
                    <a:pt x="67" y="107"/>
                    <a:pt x="71" y="111"/>
                    <a:pt x="75" y="111"/>
                  </a:cubicBezTo>
                  <a:cubicBezTo>
                    <a:pt x="320" y="111"/>
                    <a:pt x="320" y="111"/>
                    <a:pt x="320" y="111"/>
                  </a:cubicBezTo>
                  <a:cubicBezTo>
                    <a:pt x="324" y="111"/>
                    <a:pt x="328" y="107"/>
                    <a:pt x="328" y="103"/>
                  </a:cubicBezTo>
                  <a:close/>
                  <a:moveTo>
                    <a:pt x="359" y="235"/>
                  </a:moveTo>
                  <a:cubicBezTo>
                    <a:pt x="359" y="159"/>
                    <a:pt x="359" y="159"/>
                    <a:pt x="359" y="159"/>
                  </a:cubicBezTo>
                  <a:cubicBezTo>
                    <a:pt x="359" y="153"/>
                    <a:pt x="354" y="149"/>
                    <a:pt x="348" y="149"/>
                  </a:cubicBezTo>
                  <a:cubicBezTo>
                    <a:pt x="311" y="149"/>
                    <a:pt x="311" y="149"/>
                    <a:pt x="311" y="149"/>
                  </a:cubicBezTo>
                  <a:cubicBezTo>
                    <a:pt x="305" y="149"/>
                    <a:pt x="301" y="153"/>
                    <a:pt x="301" y="159"/>
                  </a:cubicBezTo>
                  <a:cubicBezTo>
                    <a:pt x="301" y="235"/>
                    <a:pt x="301" y="235"/>
                    <a:pt x="301" y="235"/>
                  </a:cubicBezTo>
                  <a:cubicBezTo>
                    <a:pt x="301" y="241"/>
                    <a:pt x="305" y="246"/>
                    <a:pt x="311" y="246"/>
                  </a:cubicBezTo>
                  <a:cubicBezTo>
                    <a:pt x="348" y="246"/>
                    <a:pt x="348" y="246"/>
                    <a:pt x="348" y="246"/>
                  </a:cubicBezTo>
                  <a:cubicBezTo>
                    <a:pt x="354" y="246"/>
                    <a:pt x="359" y="241"/>
                    <a:pt x="359" y="235"/>
                  </a:cubicBezTo>
                  <a:close/>
                  <a:moveTo>
                    <a:pt x="316" y="226"/>
                  </a:moveTo>
                  <a:cubicBezTo>
                    <a:pt x="315" y="226"/>
                    <a:pt x="313" y="225"/>
                    <a:pt x="313" y="223"/>
                  </a:cubicBezTo>
                  <a:cubicBezTo>
                    <a:pt x="313" y="222"/>
                    <a:pt x="314" y="220"/>
                    <a:pt x="316" y="220"/>
                  </a:cubicBezTo>
                  <a:cubicBezTo>
                    <a:pt x="334" y="220"/>
                    <a:pt x="343" y="215"/>
                    <a:pt x="344" y="196"/>
                  </a:cubicBezTo>
                  <a:cubicBezTo>
                    <a:pt x="344" y="193"/>
                    <a:pt x="344" y="191"/>
                    <a:pt x="344" y="188"/>
                  </a:cubicBezTo>
                  <a:cubicBezTo>
                    <a:pt x="343" y="179"/>
                    <a:pt x="338" y="174"/>
                    <a:pt x="329" y="174"/>
                  </a:cubicBezTo>
                  <a:cubicBezTo>
                    <a:pt x="320" y="174"/>
                    <a:pt x="315" y="179"/>
                    <a:pt x="315" y="187"/>
                  </a:cubicBezTo>
                  <a:cubicBezTo>
                    <a:pt x="315" y="195"/>
                    <a:pt x="319" y="199"/>
                    <a:pt x="329" y="199"/>
                  </a:cubicBezTo>
                  <a:cubicBezTo>
                    <a:pt x="331" y="199"/>
                    <a:pt x="333" y="199"/>
                    <a:pt x="337" y="198"/>
                  </a:cubicBezTo>
                  <a:cubicBezTo>
                    <a:pt x="338" y="198"/>
                    <a:pt x="340" y="199"/>
                    <a:pt x="340" y="200"/>
                  </a:cubicBezTo>
                  <a:cubicBezTo>
                    <a:pt x="340" y="202"/>
                    <a:pt x="339" y="203"/>
                    <a:pt x="338" y="203"/>
                  </a:cubicBezTo>
                  <a:cubicBezTo>
                    <a:pt x="335" y="204"/>
                    <a:pt x="333" y="205"/>
                    <a:pt x="329" y="205"/>
                  </a:cubicBezTo>
                  <a:cubicBezTo>
                    <a:pt x="316" y="205"/>
                    <a:pt x="310" y="199"/>
                    <a:pt x="310" y="188"/>
                  </a:cubicBezTo>
                  <a:cubicBezTo>
                    <a:pt x="310" y="177"/>
                    <a:pt x="317" y="169"/>
                    <a:pt x="329" y="169"/>
                  </a:cubicBezTo>
                  <a:cubicBezTo>
                    <a:pt x="342" y="169"/>
                    <a:pt x="349" y="176"/>
                    <a:pt x="350" y="188"/>
                  </a:cubicBezTo>
                  <a:cubicBezTo>
                    <a:pt x="350" y="191"/>
                    <a:pt x="350" y="193"/>
                    <a:pt x="350" y="196"/>
                  </a:cubicBezTo>
                  <a:cubicBezTo>
                    <a:pt x="349" y="218"/>
                    <a:pt x="338" y="226"/>
                    <a:pt x="316" y="226"/>
                  </a:cubicBezTo>
                  <a:close/>
                  <a:moveTo>
                    <a:pt x="179" y="149"/>
                  </a:moveTo>
                  <a:cubicBezTo>
                    <a:pt x="174" y="149"/>
                    <a:pt x="169" y="153"/>
                    <a:pt x="169" y="159"/>
                  </a:cubicBezTo>
                  <a:cubicBezTo>
                    <a:pt x="169" y="235"/>
                    <a:pt x="169" y="235"/>
                    <a:pt x="169" y="235"/>
                  </a:cubicBezTo>
                  <a:cubicBezTo>
                    <a:pt x="169" y="241"/>
                    <a:pt x="174" y="246"/>
                    <a:pt x="179" y="246"/>
                  </a:cubicBezTo>
                  <a:cubicBezTo>
                    <a:pt x="217" y="246"/>
                    <a:pt x="217" y="246"/>
                    <a:pt x="217" y="246"/>
                  </a:cubicBezTo>
                  <a:cubicBezTo>
                    <a:pt x="222" y="246"/>
                    <a:pt x="227" y="241"/>
                    <a:pt x="227" y="235"/>
                  </a:cubicBezTo>
                  <a:cubicBezTo>
                    <a:pt x="227" y="159"/>
                    <a:pt x="227" y="159"/>
                    <a:pt x="227" y="159"/>
                  </a:cubicBezTo>
                  <a:cubicBezTo>
                    <a:pt x="227" y="153"/>
                    <a:pt x="222" y="149"/>
                    <a:pt x="217" y="149"/>
                  </a:cubicBezTo>
                  <a:lnTo>
                    <a:pt x="179" y="149"/>
                  </a:lnTo>
                  <a:close/>
                  <a:moveTo>
                    <a:pt x="183" y="225"/>
                  </a:moveTo>
                  <a:cubicBezTo>
                    <a:pt x="181" y="225"/>
                    <a:pt x="180" y="224"/>
                    <a:pt x="180" y="223"/>
                  </a:cubicBezTo>
                  <a:cubicBezTo>
                    <a:pt x="180" y="221"/>
                    <a:pt x="181" y="220"/>
                    <a:pt x="183" y="220"/>
                  </a:cubicBezTo>
                  <a:cubicBezTo>
                    <a:pt x="199" y="221"/>
                    <a:pt x="211" y="216"/>
                    <a:pt x="211" y="205"/>
                  </a:cubicBezTo>
                  <a:cubicBezTo>
                    <a:pt x="211" y="199"/>
                    <a:pt x="206" y="195"/>
                    <a:pt x="199" y="195"/>
                  </a:cubicBezTo>
                  <a:cubicBezTo>
                    <a:pt x="196" y="195"/>
                    <a:pt x="195" y="195"/>
                    <a:pt x="194" y="195"/>
                  </a:cubicBezTo>
                  <a:cubicBezTo>
                    <a:pt x="192" y="195"/>
                    <a:pt x="191" y="194"/>
                    <a:pt x="191" y="193"/>
                  </a:cubicBezTo>
                  <a:cubicBezTo>
                    <a:pt x="191" y="192"/>
                    <a:pt x="191" y="191"/>
                    <a:pt x="192" y="191"/>
                  </a:cubicBezTo>
                  <a:cubicBezTo>
                    <a:pt x="206" y="175"/>
                    <a:pt x="206" y="175"/>
                    <a:pt x="206" y="175"/>
                  </a:cubicBezTo>
                  <a:cubicBezTo>
                    <a:pt x="183" y="175"/>
                    <a:pt x="183" y="175"/>
                    <a:pt x="183" y="175"/>
                  </a:cubicBezTo>
                  <a:cubicBezTo>
                    <a:pt x="181" y="175"/>
                    <a:pt x="180" y="173"/>
                    <a:pt x="180" y="172"/>
                  </a:cubicBezTo>
                  <a:cubicBezTo>
                    <a:pt x="180" y="170"/>
                    <a:pt x="181" y="169"/>
                    <a:pt x="183" y="169"/>
                  </a:cubicBezTo>
                  <a:cubicBezTo>
                    <a:pt x="209" y="169"/>
                    <a:pt x="209" y="169"/>
                    <a:pt x="209" y="169"/>
                  </a:cubicBezTo>
                  <a:cubicBezTo>
                    <a:pt x="211" y="169"/>
                    <a:pt x="213" y="171"/>
                    <a:pt x="213" y="173"/>
                  </a:cubicBezTo>
                  <a:cubicBezTo>
                    <a:pt x="213" y="174"/>
                    <a:pt x="213" y="175"/>
                    <a:pt x="212" y="176"/>
                  </a:cubicBezTo>
                  <a:cubicBezTo>
                    <a:pt x="199" y="190"/>
                    <a:pt x="199" y="190"/>
                    <a:pt x="199" y="190"/>
                  </a:cubicBezTo>
                  <a:cubicBezTo>
                    <a:pt x="209" y="189"/>
                    <a:pt x="216" y="196"/>
                    <a:pt x="216" y="205"/>
                  </a:cubicBezTo>
                  <a:cubicBezTo>
                    <a:pt x="216" y="219"/>
                    <a:pt x="204" y="226"/>
                    <a:pt x="183" y="225"/>
                  </a:cubicBezTo>
                  <a:close/>
                  <a:moveTo>
                    <a:pt x="245" y="149"/>
                  </a:moveTo>
                  <a:cubicBezTo>
                    <a:pt x="240" y="149"/>
                    <a:pt x="235" y="153"/>
                    <a:pt x="235" y="159"/>
                  </a:cubicBezTo>
                  <a:cubicBezTo>
                    <a:pt x="235" y="235"/>
                    <a:pt x="235" y="235"/>
                    <a:pt x="235" y="235"/>
                  </a:cubicBezTo>
                  <a:cubicBezTo>
                    <a:pt x="235" y="241"/>
                    <a:pt x="240" y="246"/>
                    <a:pt x="245" y="246"/>
                  </a:cubicBezTo>
                  <a:cubicBezTo>
                    <a:pt x="282" y="246"/>
                    <a:pt x="282" y="246"/>
                    <a:pt x="282" y="246"/>
                  </a:cubicBezTo>
                  <a:cubicBezTo>
                    <a:pt x="288" y="246"/>
                    <a:pt x="293" y="241"/>
                    <a:pt x="293" y="235"/>
                  </a:cubicBezTo>
                  <a:cubicBezTo>
                    <a:pt x="293" y="159"/>
                    <a:pt x="293" y="159"/>
                    <a:pt x="293" y="159"/>
                  </a:cubicBezTo>
                  <a:cubicBezTo>
                    <a:pt x="293" y="153"/>
                    <a:pt x="288" y="149"/>
                    <a:pt x="282" y="149"/>
                  </a:cubicBezTo>
                  <a:lnTo>
                    <a:pt x="245" y="149"/>
                  </a:lnTo>
                  <a:close/>
                  <a:moveTo>
                    <a:pt x="285" y="210"/>
                  </a:moveTo>
                  <a:cubicBezTo>
                    <a:pt x="285" y="219"/>
                    <a:pt x="278" y="224"/>
                    <a:pt x="269" y="225"/>
                  </a:cubicBezTo>
                  <a:cubicBezTo>
                    <a:pt x="269" y="226"/>
                    <a:pt x="268" y="226"/>
                    <a:pt x="268" y="226"/>
                  </a:cubicBezTo>
                  <a:cubicBezTo>
                    <a:pt x="266" y="226"/>
                    <a:pt x="265" y="224"/>
                    <a:pt x="265" y="223"/>
                  </a:cubicBezTo>
                  <a:cubicBezTo>
                    <a:pt x="265" y="222"/>
                    <a:pt x="266" y="220"/>
                    <a:pt x="267" y="220"/>
                  </a:cubicBezTo>
                  <a:cubicBezTo>
                    <a:pt x="274" y="219"/>
                    <a:pt x="279" y="216"/>
                    <a:pt x="279" y="210"/>
                  </a:cubicBezTo>
                  <a:cubicBezTo>
                    <a:pt x="279" y="203"/>
                    <a:pt x="273" y="199"/>
                    <a:pt x="263" y="199"/>
                  </a:cubicBezTo>
                  <a:cubicBezTo>
                    <a:pt x="254" y="199"/>
                    <a:pt x="249" y="203"/>
                    <a:pt x="249" y="210"/>
                  </a:cubicBezTo>
                  <a:cubicBezTo>
                    <a:pt x="249" y="216"/>
                    <a:pt x="254" y="219"/>
                    <a:pt x="260" y="220"/>
                  </a:cubicBezTo>
                  <a:cubicBezTo>
                    <a:pt x="262" y="221"/>
                    <a:pt x="263" y="222"/>
                    <a:pt x="263" y="223"/>
                  </a:cubicBezTo>
                  <a:cubicBezTo>
                    <a:pt x="263" y="224"/>
                    <a:pt x="261" y="226"/>
                    <a:pt x="260" y="226"/>
                  </a:cubicBezTo>
                  <a:cubicBezTo>
                    <a:pt x="260" y="226"/>
                    <a:pt x="259" y="226"/>
                    <a:pt x="258" y="225"/>
                  </a:cubicBezTo>
                  <a:cubicBezTo>
                    <a:pt x="250" y="224"/>
                    <a:pt x="243" y="219"/>
                    <a:pt x="243" y="210"/>
                  </a:cubicBezTo>
                  <a:cubicBezTo>
                    <a:pt x="243" y="202"/>
                    <a:pt x="248" y="198"/>
                    <a:pt x="253" y="196"/>
                  </a:cubicBezTo>
                  <a:cubicBezTo>
                    <a:pt x="253" y="196"/>
                    <a:pt x="253" y="196"/>
                    <a:pt x="253" y="196"/>
                  </a:cubicBezTo>
                  <a:cubicBezTo>
                    <a:pt x="248" y="194"/>
                    <a:pt x="245" y="191"/>
                    <a:pt x="245" y="183"/>
                  </a:cubicBezTo>
                  <a:cubicBezTo>
                    <a:pt x="245" y="176"/>
                    <a:pt x="249" y="171"/>
                    <a:pt x="258" y="169"/>
                  </a:cubicBezTo>
                  <a:cubicBezTo>
                    <a:pt x="259" y="169"/>
                    <a:pt x="260" y="169"/>
                    <a:pt x="260" y="169"/>
                  </a:cubicBezTo>
                  <a:cubicBezTo>
                    <a:pt x="261" y="169"/>
                    <a:pt x="263" y="170"/>
                    <a:pt x="263" y="171"/>
                  </a:cubicBezTo>
                  <a:cubicBezTo>
                    <a:pt x="263" y="173"/>
                    <a:pt x="262" y="174"/>
                    <a:pt x="260" y="174"/>
                  </a:cubicBezTo>
                  <a:cubicBezTo>
                    <a:pt x="254" y="175"/>
                    <a:pt x="250" y="178"/>
                    <a:pt x="250" y="183"/>
                  </a:cubicBezTo>
                  <a:cubicBezTo>
                    <a:pt x="250" y="190"/>
                    <a:pt x="255" y="193"/>
                    <a:pt x="264" y="193"/>
                  </a:cubicBezTo>
                  <a:cubicBezTo>
                    <a:pt x="272" y="193"/>
                    <a:pt x="277" y="189"/>
                    <a:pt x="277" y="183"/>
                  </a:cubicBezTo>
                  <a:cubicBezTo>
                    <a:pt x="277" y="178"/>
                    <a:pt x="274" y="175"/>
                    <a:pt x="267" y="174"/>
                  </a:cubicBezTo>
                  <a:cubicBezTo>
                    <a:pt x="266" y="174"/>
                    <a:pt x="265" y="173"/>
                    <a:pt x="265" y="171"/>
                  </a:cubicBezTo>
                  <a:cubicBezTo>
                    <a:pt x="265" y="170"/>
                    <a:pt x="266" y="169"/>
                    <a:pt x="268" y="169"/>
                  </a:cubicBezTo>
                  <a:cubicBezTo>
                    <a:pt x="268" y="169"/>
                    <a:pt x="269" y="169"/>
                    <a:pt x="269" y="169"/>
                  </a:cubicBezTo>
                  <a:cubicBezTo>
                    <a:pt x="278" y="171"/>
                    <a:pt x="283" y="176"/>
                    <a:pt x="283" y="183"/>
                  </a:cubicBezTo>
                  <a:cubicBezTo>
                    <a:pt x="283" y="190"/>
                    <a:pt x="279" y="194"/>
                    <a:pt x="275" y="196"/>
                  </a:cubicBezTo>
                  <a:cubicBezTo>
                    <a:pt x="275" y="196"/>
                    <a:pt x="275" y="196"/>
                    <a:pt x="275" y="196"/>
                  </a:cubicBezTo>
                  <a:cubicBezTo>
                    <a:pt x="280" y="197"/>
                    <a:pt x="284" y="202"/>
                    <a:pt x="285" y="210"/>
                  </a:cubicBezTo>
                  <a:close/>
                  <a:moveTo>
                    <a:pt x="114" y="149"/>
                  </a:moveTo>
                  <a:cubicBezTo>
                    <a:pt x="108" y="149"/>
                    <a:pt x="103" y="153"/>
                    <a:pt x="103" y="159"/>
                  </a:cubicBezTo>
                  <a:cubicBezTo>
                    <a:pt x="103" y="235"/>
                    <a:pt x="103" y="235"/>
                    <a:pt x="103" y="235"/>
                  </a:cubicBezTo>
                  <a:cubicBezTo>
                    <a:pt x="103" y="241"/>
                    <a:pt x="108" y="246"/>
                    <a:pt x="114" y="246"/>
                  </a:cubicBezTo>
                  <a:cubicBezTo>
                    <a:pt x="151" y="246"/>
                    <a:pt x="151" y="246"/>
                    <a:pt x="151" y="246"/>
                  </a:cubicBezTo>
                  <a:cubicBezTo>
                    <a:pt x="157" y="246"/>
                    <a:pt x="161" y="241"/>
                    <a:pt x="161" y="235"/>
                  </a:cubicBezTo>
                  <a:cubicBezTo>
                    <a:pt x="161" y="159"/>
                    <a:pt x="161" y="159"/>
                    <a:pt x="161" y="159"/>
                  </a:cubicBezTo>
                  <a:cubicBezTo>
                    <a:pt x="161" y="153"/>
                    <a:pt x="157" y="149"/>
                    <a:pt x="151" y="149"/>
                  </a:cubicBezTo>
                  <a:lnTo>
                    <a:pt x="114" y="149"/>
                  </a:lnTo>
                  <a:close/>
                  <a:moveTo>
                    <a:pt x="117" y="225"/>
                  </a:moveTo>
                  <a:cubicBezTo>
                    <a:pt x="115" y="225"/>
                    <a:pt x="114" y="224"/>
                    <a:pt x="114" y="223"/>
                  </a:cubicBezTo>
                  <a:cubicBezTo>
                    <a:pt x="114" y="221"/>
                    <a:pt x="115" y="220"/>
                    <a:pt x="117" y="220"/>
                  </a:cubicBezTo>
                  <a:cubicBezTo>
                    <a:pt x="133" y="221"/>
                    <a:pt x="145" y="215"/>
                    <a:pt x="145" y="204"/>
                  </a:cubicBezTo>
                  <a:cubicBezTo>
                    <a:pt x="145" y="198"/>
                    <a:pt x="140" y="194"/>
                    <a:pt x="134" y="194"/>
                  </a:cubicBezTo>
                  <a:cubicBezTo>
                    <a:pt x="127" y="194"/>
                    <a:pt x="123" y="196"/>
                    <a:pt x="120" y="197"/>
                  </a:cubicBezTo>
                  <a:cubicBezTo>
                    <a:pt x="117" y="199"/>
                    <a:pt x="115" y="197"/>
                    <a:pt x="115" y="195"/>
                  </a:cubicBezTo>
                  <a:cubicBezTo>
                    <a:pt x="115" y="174"/>
                    <a:pt x="115" y="174"/>
                    <a:pt x="115" y="174"/>
                  </a:cubicBezTo>
                  <a:cubicBezTo>
                    <a:pt x="115" y="170"/>
                    <a:pt x="118" y="169"/>
                    <a:pt x="120" y="169"/>
                  </a:cubicBezTo>
                  <a:cubicBezTo>
                    <a:pt x="144" y="169"/>
                    <a:pt x="144" y="169"/>
                    <a:pt x="144" y="169"/>
                  </a:cubicBezTo>
                  <a:cubicBezTo>
                    <a:pt x="146" y="169"/>
                    <a:pt x="147" y="170"/>
                    <a:pt x="147" y="172"/>
                  </a:cubicBezTo>
                  <a:cubicBezTo>
                    <a:pt x="147" y="173"/>
                    <a:pt x="146" y="175"/>
                    <a:pt x="144" y="175"/>
                  </a:cubicBezTo>
                  <a:cubicBezTo>
                    <a:pt x="121" y="175"/>
                    <a:pt x="121" y="175"/>
                    <a:pt x="121" y="175"/>
                  </a:cubicBezTo>
                  <a:cubicBezTo>
                    <a:pt x="121" y="192"/>
                    <a:pt x="121" y="192"/>
                    <a:pt x="121" y="192"/>
                  </a:cubicBezTo>
                  <a:cubicBezTo>
                    <a:pt x="124" y="190"/>
                    <a:pt x="128" y="188"/>
                    <a:pt x="134" y="188"/>
                  </a:cubicBezTo>
                  <a:cubicBezTo>
                    <a:pt x="144" y="188"/>
                    <a:pt x="151" y="195"/>
                    <a:pt x="151" y="204"/>
                  </a:cubicBezTo>
                  <a:cubicBezTo>
                    <a:pt x="151" y="218"/>
                    <a:pt x="137" y="226"/>
                    <a:pt x="117" y="225"/>
                  </a:cubicBezTo>
                  <a:close/>
                  <a:moveTo>
                    <a:pt x="37" y="159"/>
                  </a:moveTo>
                  <a:cubicBezTo>
                    <a:pt x="37" y="235"/>
                    <a:pt x="37" y="235"/>
                    <a:pt x="37" y="235"/>
                  </a:cubicBezTo>
                  <a:cubicBezTo>
                    <a:pt x="37" y="241"/>
                    <a:pt x="42" y="246"/>
                    <a:pt x="48" y="246"/>
                  </a:cubicBezTo>
                  <a:cubicBezTo>
                    <a:pt x="85" y="246"/>
                    <a:pt x="85" y="246"/>
                    <a:pt x="85" y="246"/>
                  </a:cubicBezTo>
                  <a:cubicBezTo>
                    <a:pt x="91" y="246"/>
                    <a:pt x="95" y="241"/>
                    <a:pt x="95" y="235"/>
                  </a:cubicBezTo>
                  <a:cubicBezTo>
                    <a:pt x="95" y="159"/>
                    <a:pt x="95" y="159"/>
                    <a:pt x="95" y="159"/>
                  </a:cubicBezTo>
                  <a:cubicBezTo>
                    <a:pt x="95" y="153"/>
                    <a:pt x="91" y="149"/>
                    <a:pt x="85" y="149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2" y="149"/>
                    <a:pt x="37" y="153"/>
                    <a:pt x="37" y="159"/>
                  </a:cubicBezTo>
                  <a:close/>
                  <a:moveTo>
                    <a:pt x="66" y="174"/>
                  </a:moveTo>
                  <a:cubicBezTo>
                    <a:pt x="60" y="174"/>
                    <a:pt x="56" y="177"/>
                    <a:pt x="54" y="180"/>
                  </a:cubicBezTo>
                  <a:cubicBezTo>
                    <a:pt x="53" y="181"/>
                    <a:pt x="53" y="181"/>
                    <a:pt x="52" y="181"/>
                  </a:cubicBezTo>
                  <a:cubicBezTo>
                    <a:pt x="50" y="182"/>
                    <a:pt x="49" y="181"/>
                    <a:pt x="48" y="180"/>
                  </a:cubicBezTo>
                  <a:cubicBezTo>
                    <a:pt x="48" y="179"/>
                    <a:pt x="48" y="178"/>
                    <a:pt x="49" y="177"/>
                  </a:cubicBezTo>
                  <a:cubicBezTo>
                    <a:pt x="52" y="173"/>
                    <a:pt x="57" y="169"/>
                    <a:pt x="66" y="169"/>
                  </a:cubicBezTo>
                  <a:cubicBezTo>
                    <a:pt x="77" y="169"/>
                    <a:pt x="83" y="176"/>
                    <a:pt x="83" y="184"/>
                  </a:cubicBezTo>
                  <a:cubicBezTo>
                    <a:pt x="83" y="193"/>
                    <a:pt x="78" y="197"/>
                    <a:pt x="66" y="206"/>
                  </a:cubicBezTo>
                  <a:cubicBezTo>
                    <a:pt x="57" y="212"/>
                    <a:pt x="54" y="215"/>
                    <a:pt x="54" y="220"/>
                  </a:cubicBezTo>
                  <a:cubicBezTo>
                    <a:pt x="82" y="220"/>
                    <a:pt x="82" y="220"/>
                    <a:pt x="82" y="220"/>
                  </a:cubicBezTo>
                  <a:cubicBezTo>
                    <a:pt x="83" y="220"/>
                    <a:pt x="85" y="221"/>
                    <a:pt x="85" y="223"/>
                  </a:cubicBezTo>
                  <a:cubicBezTo>
                    <a:pt x="85" y="224"/>
                    <a:pt x="83" y="226"/>
                    <a:pt x="82" y="226"/>
                  </a:cubicBezTo>
                  <a:cubicBezTo>
                    <a:pt x="53" y="226"/>
                    <a:pt x="53" y="226"/>
                    <a:pt x="53" y="226"/>
                  </a:cubicBezTo>
                  <a:cubicBezTo>
                    <a:pt x="50" y="226"/>
                    <a:pt x="48" y="224"/>
                    <a:pt x="48" y="221"/>
                  </a:cubicBezTo>
                  <a:cubicBezTo>
                    <a:pt x="48" y="214"/>
                    <a:pt x="52" y="209"/>
                    <a:pt x="61" y="203"/>
                  </a:cubicBezTo>
                  <a:cubicBezTo>
                    <a:pt x="74" y="193"/>
                    <a:pt x="78" y="191"/>
                    <a:pt x="78" y="184"/>
                  </a:cubicBezTo>
                  <a:cubicBezTo>
                    <a:pt x="78" y="180"/>
                    <a:pt x="74" y="174"/>
                    <a:pt x="66" y="17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1436" tIns="45718" rIns="91436" bIns="45718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grpSp>
          <p:nvGrpSpPr>
            <p:cNvPr id="107" name="Group 106">
              <a:extLst>
                <a:ext uri="{FF2B5EF4-FFF2-40B4-BE49-F238E27FC236}">
                  <a16:creationId xmlns="" xmlns:a16="http://schemas.microsoft.com/office/drawing/2014/main" id="{8D8E31F5-7328-47DA-9289-69400A3CA85F}"/>
                </a:ext>
              </a:extLst>
            </p:cNvPr>
            <p:cNvGrpSpPr/>
            <p:nvPr/>
          </p:nvGrpSpPr>
          <p:grpSpPr>
            <a:xfrm>
              <a:off x="3168347" y="4815388"/>
              <a:ext cx="719504" cy="720244"/>
              <a:chOff x="1434397" y="3876940"/>
              <a:chExt cx="719504" cy="720244"/>
            </a:xfrm>
          </p:grpSpPr>
          <p:sp>
            <p:nvSpPr>
              <p:cNvPr id="108" name="Rounded Rectangle 103">
                <a:extLst>
                  <a:ext uri="{FF2B5EF4-FFF2-40B4-BE49-F238E27FC236}">
                    <a16:creationId xmlns="" xmlns:a16="http://schemas.microsoft.com/office/drawing/2014/main" id="{EA8E02B7-6CCE-4DEF-A450-ECEDB68284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4397" y="3876940"/>
                <a:ext cx="719504" cy="720244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20000"/>
                </a:schemeClr>
              </a:solidFill>
              <a:ln w="2540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71988" tIns="45718" rIns="71988" bIns="45718"/>
              <a:lstStyle>
                <a:lvl1pPr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Ericsson Sans Medium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09" name="Group 7">
                <a:extLst>
                  <a:ext uri="{FF2B5EF4-FFF2-40B4-BE49-F238E27FC236}">
                    <a16:creationId xmlns="" xmlns:a16="http://schemas.microsoft.com/office/drawing/2014/main" id="{F967CFD4-FCA3-485A-A9D2-4406E41786ED}"/>
                  </a:ext>
                </a:extLst>
              </p:cNvPr>
              <p:cNvGrpSpPr>
                <a:grpSpLocks/>
              </p:cNvGrpSpPr>
              <p:nvPr>
                <p:custDataLst>
                  <p:tags r:id="rId21"/>
                </p:custDataLst>
              </p:nvPr>
            </p:nvGrpSpPr>
            <p:grpSpPr bwMode="auto">
              <a:xfrm>
                <a:off x="1579060" y="4064151"/>
                <a:ext cx="506587" cy="353544"/>
                <a:chOff x="1554162" y="4567970"/>
                <a:chExt cx="760413" cy="549275"/>
              </a:xfrm>
              <a:solidFill>
                <a:srgbClr val="FFFFFF"/>
              </a:solidFill>
            </p:grpSpPr>
            <p:sp>
              <p:nvSpPr>
                <p:cNvPr id="110" name="Freeform 3">
                  <a:extLst>
                    <a:ext uri="{FF2B5EF4-FFF2-40B4-BE49-F238E27FC236}">
                      <a16:creationId xmlns="" xmlns:a16="http://schemas.microsoft.com/office/drawing/2014/main" id="{6383329E-87AB-4F96-AA14-27053A150D45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1554162" y="4567970"/>
                  <a:ext cx="760413" cy="549275"/>
                </a:xfrm>
                <a:custGeom>
                  <a:avLst/>
                  <a:gdLst>
                    <a:gd name="T0" fmla="*/ 2147483647 w 368"/>
                    <a:gd name="T1" fmla="*/ 0 h 296"/>
                    <a:gd name="T2" fmla="*/ 2147483647 w 368"/>
                    <a:gd name="T3" fmla="*/ 2147483647 h 296"/>
                    <a:gd name="T4" fmla="*/ 2147483647 w 368"/>
                    <a:gd name="T5" fmla="*/ 2147483647 h 296"/>
                    <a:gd name="T6" fmla="*/ 2147483647 w 368"/>
                    <a:gd name="T7" fmla="*/ 2147483647 h 296"/>
                    <a:gd name="T8" fmla="*/ 2147483647 w 368"/>
                    <a:gd name="T9" fmla="*/ 2147483647 h 296"/>
                    <a:gd name="T10" fmla="*/ 2147483647 w 368"/>
                    <a:gd name="T11" fmla="*/ 2147483647 h 296"/>
                    <a:gd name="T12" fmla="*/ 2147483647 w 368"/>
                    <a:gd name="T13" fmla="*/ 2147483647 h 296"/>
                    <a:gd name="T14" fmla="*/ 2147483647 w 368"/>
                    <a:gd name="T15" fmla="*/ 2147483647 h 296"/>
                    <a:gd name="T16" fmla="*/ 2147483647 w 368"/>
                    <a:gd name="T17" fmla="*/ 2147483647 h 296"/>
                    <a:gd name="T18" fmla="*/ 2147483647 w 368"/>
                    <a:gd name="T19" fmla="*/ 2147483647 h 296"/>
                    <a:gd name="T20" fmla="*/ 2147483647 w 368"/>
                    <a:gd name="T21" fmla="*/ 2147483647 h 296"/>
                    <a:gd name="T22" fmla="*/ 2147483647 w 368"/>
                    <a:gd name="T23" fmla="*/ 2147483647 h 296"/>
                    <a:gd name="T24" fmla="*/ 2147483647 w 368"/>
                    <a:gd name="T25" fmla="*/ 2147483647 h 296"/>
                    <a:gd name="T26" fmla="*/ 2147483647 w 368"/>
                    <a:gd name="T27" fmla="*/ 2147483647 h 296"/>
                    <a:gd name="T28" fmla="*/ 2147483647 w 368"/>
                    <a:gd name="T29" fmla="*/ 2147483647 h 296"/>
                    <a:gd name="T30" fmla="*/ 2147483647 w 368"/>
                    <a:gd name="T31" fmla="*/ 2147483647 h 296"/>
                    <a:gd name="T32" fmla="*/ 2147483647 w 368"/>
                    <a:gd name="T33" fmla="*/ 2147483647 h 296"/>
                    <a:gd name="T34" fmla="*/ 2147483647 w 368"/>
                    <a:gd name="T35" fmla="*/ 2147483647 h 296"/>
                    <a:gd name="T36" fmla="*/ 2147483647 w 368"/>
                    <a:gd name="T37" fmla="*/ 2147483647 h 296"/>
                    <a:gd name="T38" fmla="*/ 2147483647 w 368"/>
                    <a:gd name="T39" fmla="*/ 2147483647 h 296"/>
                    <a:gd name="T40" fmla="*/ 2147483647 w 368"/>
                    <a:gd name="T41" fmla="*/ 2147483647 h 296"/>
                    <a:gd name="T42" fmla="*/ 2147483647 w 368"/>
                    <a:gd name="T43" fmla="*/ 2147483647 h 296"/>
                    <a:gd name="T44" fmla="*/ 2147483647 w 368"/>
                    <a:gd name="T45" fmla="*/ 2147483647 h 296"/>
                    <a:gd name="T46" fmla="*/ 2147483647 w 368"/>
                    <a:gd name="T47" fmla="*/ 2147483647 h 296"/>
                    <a:gd name="T48" fmla="*/ 2147483647 w 368"/>
                    <a:gd name="T49" fmla="*/ 2147483647 h 296"/>
                    <a:gd name="T50" fmla="*/ 2147483647 w 368"/>
                    <a:gd name="T51" fmla="*/ 2147483647 h 296"/>
                    <a:gd name="T52" fmla="*/ 2147483647 w 368"/>
                    <a:gd name="T53" fmla="*/ 2147483647 h 296"/>
                    <a:gd name="T54" fmla="*/ 2147483647 w 368"/>
                    <a:gd name="T55" fmla="*/ 0 h 296"/>
                    <a:gd name="T56" fmla="*/ 2147483647 w 368"/>
                    <a:gd name="T57" fmla="*/ 2147483647 h 296"/>
                    <a:gd name="T58" fmla="*/ 2147483647 w 368"/>
                    <a:gd name="T59" fmla="*/ 2147483647 h 296"/>
                    <a:gd name="T60" fmla="*/ 2147483647 w 368"/>
                    <a:gd name="T61" fmla="*/ 2147483647 h 296"/>
                    <a:gd name="T62" fmla="*/ 2147483647 w 368"/>
                    <a:gd name="T63" fmla="*/ 2147483647 h 296"/>
                    <a:gd name="T64" fmla="*/ 2147483647 w 368"/>
                    <a:gd name="T65" fmla="*/ 2147483647 h 29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368"/>
                    <a:gd name="T100" fmla="*/ 0 h 296"/>
                    <a:gd name="T101" fmla="*/ 368 w 368"/>
                    <a:gd name="T102" fmla="*/ 296 h 296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368" h="296">
                      <a:moveTo>
                        <a:pt x="344" y="0"/>
                      </a:moveTo>
                      <a:cubicBezTo>
                        <a:pt x="321" y="0"/>
                        <a:pt x="321" y="0"/>
                        <a:pt x="321" y="0"/>
                      </a:cubicBezTo>
                      <a:cubicBezTo>
                        <a:pt x="303" y="0"/>
                        <a:pt x="294" y="14"/>
                        <a:pt x="291" y="26"/>
                      </a:cubicBezTo>
                      <a:cubicBezTo>
                        <a:pt x="291" y="27"/>
                        <a:pt x="289" y="37"/>
                        <a:pt x="287" y="49"/>
                      </a:cubicBezTo>
                      <a:cubicBezTo>
                        <a:pt x="283" y="47"/>
                        <a:pt x="278" y="45"/>
                        <a:pt x="272" y="45"/>
                      </a:cubicBezTo>
                      <a:cubicBezTo>
                        <a:pt x="25" y="45"/>
                        <a:pt x="25" y="45"/>
                        <a:pt x="25" y="45"/>
                      </a:cubicBezTo>
                      <a:cubicBezTo>
                        <a:pt x="18" y="45"/>
                        <a:pt x="11" y="48"/>
                        <a:pt x="6" y="54"/>
                      </a:cubicBezTo>
                      <a:cubicBezTo>
                        <a:pt x="1" y="60"/>
                        <a:pt x="0" y="68"/>
                        <a:pt x="1" y="76"/>
                      </a:cubicBezTo>
                      <a:cubicBezTo>
                        <a:pt x="2" y="82"/>
                        <a:pt x="21" y="198"/>
                        <a:pt x="22" y="199"/>
                      </a:cubicBezTo>
                      <a:cubicBezTo>
                        <a:pt x="23" y="208"/>
                        <a:pt x="33" y="220"/>
                        <a:pt x="48" y="220"/>
                      </a:cubicBezTo>
                      <a:cubicBezTo>
                        <a:pt x="248" y="220"/>
                        <a:pt x="248" y="220"/>
                        <a:pt x="248" y="220"/>
                      </a:cubicBezTo>
                      <a:cubicBezTo>
                        <a:pt x="250" y="220"/>
                        <a:pt x="253" y="220"/>
                        <a:pt x="255" y="219"/>
                      </a:cubicBezTo>
                      <a:cubicBezTo>
                        <a:pt x="252" y="234"/>
                        <a:pt x="248" y="251"/>
                        <a:pt x="248" y="253"/>
                      </a:cubicBezTo>
                      <a:cubicBezTo>
                        <a:pt x="247" y="258"/>
                        <a:pt x="247" y="259"/>
                        <a:pt x="241" y="259"/>
                      </a:cubicBezTo>
                      <a:cubicBezTo>
                        <a:pt x="239" y="259"/>
                        <a:pt x="239" y="259"/>
                        <a:pt x="239" y="259"/>
                      </a:cubicBezTo>
                      <a:cubicBezTo>
                        <a:pt x="235" y="248"/>
                        <a:pt x="224" y="239"/>
                        <a:pt x="211" y="239"/>
                      </a:cubicBezTo>
                      <a:cubicBezTo>
                        <a:pt x="198" y="239"/>
                        <a:pt x="187" y="248"/>
                        <a:pt x="184" y="259"/>
                      </a:cubicBezTo>
                      <a:cubicBezTo>
                        <a:pt x="90" y="259"/>
                        <a:pt x="90" y="259"/>
                        <a:pt x="90" y="259"/>
                      </a:cubicBezTo>
                      <a:cubicBezTo>
                        <a:pt x="86" y="248"/>
                        <a:pt x="75" y="239"/>
                        <a:pt x="62" y="239"/>
                      </a:cubicBezTo>
                      <a:cubicBezTo>
                        <a:pt x="46" y="239"/>
                        <a:pt x="34" y="252"/>
                        <a:pt x="34" y="267"/>
                      </a:cubicBezTo>
                      <a:cubicBezTo>
                        <a:pt x="34" y="283"/>
                        <a:pt x="46" y="296"/>
                        <a:pt x="62" y="296"/>
                      </a:cubicBezTo>
                      <a:cubicBezTo>
                        <a:pt x="75" y="296"/>
                        <a:pt x="86" y="287"/>
                        <a:pt x="90" y="275"/>
                      </a:cubicBezTo>
                      <a:cubicBezTo>
                        <a:pt x="184" y="275"/>
                        <a:pt x="184" y="275"/>
                        <a:pt x="184" y="275"/>
                      </a:cubicBezTo>
                      <a:cubicBezTo>
                        <a:pt x="187" y="287"/>
                        <a:pt x="198" y="296"/>
                        <a:pt x="211" y="296"/>
                      </a:cubicBezTo>
                      <a:cubicBezTo>
                        <a:pt x="224" y="296"/>
                        <a:pt x="235" y="287"/>
                        <a:pt x="239" y="275"/>
                      </a:cubicBezTo>
                      <a:cubicBezTo>
                        <a:pt x="241" y="275"/>
                        <a:pt x="241" y="275"/>
                        <a:pt x="241" y="275"/>
                      </a:cubicBezTo>
                      <a:cubicBezTo>
                        <a:pt x="259" y="275"/>
                        <a:pt x="262" y="262"/>
                        <a:pt x="263" y="257"/>
                      </a:cubicBezTo>
                      <a:cubicBezTo>
                        <a:pt x="264" y="254"/>
                        <a:pt x="288" y="127"/>
                        <a:pt x="288" y="127"/>
                      </a:cubicBezTo>
                      <a:cubicBezTo>
                        <a:pt x="289" y="123"/>
                        <a:pt x="286" y="118"/>
                        <a:pt x="282" y="118"/>
                      </a:cubicBezTo>
                      <a:cubicBezTo>
                        <a:pt x="277" y="117"/>
                        <a:pt x="273" y="120"/>
                        <a:pt x="272" y="124"/>
                      </a:cubicBezTo>
                      <a:cubicBezTo>
                        <a:pt x="272" y="124"/>
                        <a:pt x="259" y="194"/>
                        <a:pt x="259" y="195"/>
                      </a:cubicBezTo>
                      <a:cubicBezTo>
                        <a:pt x="257" y="201"/>
                        <a:pt x="254" y="204"/>
                        <a:pt x="248" y="204"/>
                      </a:cubicBezTo>
                      <a:cubicBezTo>
                        <a:pt x="48" y="204"/>
                        <a:pt x="48" y="204"/>
                        <a:pt x="48" y="204"/>
                      </a:cubicBezTo>
                      <a:cubicBezTo>
                        <a:pt x="41" y="204"/>
                        <a:pt x="38" y="198"/>
                        <a:pt x="37" y="196"/>
                      </a:cubicBezTo>
                      <a:cubicBezTo>
                        <a:pt x="37" y="192"/>
                        <a:pt x="18" y="79"/>
                        <a:pt x="17" y="74"/>
                      </a:cubicBezTo>
                      <a:cubicBezTo>
                        <a:pt x="16" y="70"/>
                        <a:pt x="17" y="67"/>
                        <a:pt x="19" y="64"/>
                      </a:cubicBezTo>
                      <a:cubicBezTo>
                        <a:pt x="21" y="62"/>
                        <a:pt x="23" y="61"/>
                        <a:pt x="25" y="61"/>
                      </a:cubicBezTo>
                      <a:cubicBezTo>
                        <a:pt x="272" y="61"/>
                        <a:pt x="272" y="61"/>
                        <a:pt x="272" y="61"/>
                      </a:cubicBezTo>
                      <a:cubicBezTo>
                        <a:pt x="276" y="61"/>
                        <a:pt x="278" y="62"/>
                        <a:pt x="280" y="64"/>
                      </a:cubicBezTo>
                      <a:cubicBezTo>
                        <a:pt x="282" y="67"/>
                        <a:pt x="282" y="71"/>
                        <a:pt x="282" y="74"/>
                      </a:cubicBezTo>
                      <a:cubicBezTo>
                        <a:pt x="282" y="75"/>
                        <a:pt x="279" y="88"/>
                        <a:pt x="278" y="92"/>
                      </a:cubicBezTo>
                      <a:cubicBezTo>
                        <a:pt x="278" y="92"/>
                        <a:pt x="278" y="92"/>
                        <a:pt x="278" y="92"/>
                      </a:cubicBezTo>
                      <a:cubicBezTo>
                        <a:pt x="277" y="96"/>
                        <a:pt x="280" y="100"/>
                        <a:pt x="285" y="101"/>
                      </a:cubicBezTo>
                      <a:cubicBezTo>
                        <a:pt x="289" y="102"/>
                        <a:pt x="294" y="99"/>
                        <a:pt x="295" y="95"/>
                      </a:cubicBezTo>
                      <a:cubicBezTo>
                        <a:pt x="295" y="92"/>
                        <a:pt x="307" y="30"/>
                        <a:pt x="307" y="29"/>
                      </a:cubicBezTo>
                      <a:cubicBezTo>
                        <a:pt x="308" y="25"/>
                        <a:pt x="311" y="16"/>
                        <a:pt x="321" y="16"/>
                      </a:cubicBezTo>
                      <a:cubicBezTo>
                        <a:pt x="344" y="16"/>
                        <a:pt x="344" y="16"/>
                        <a:pt x="344" y="16"/>
                      </a:cubicBezTo>
                      <a:cubicBezTo>
                        <a:pt x="350" y="16"/>
                        <a:pt x="352" y="20"/>
                        <a:pt x="352" y="23"/>
                      </a:cubicBezTo>
                      <a:cubicBezTo>
                        <a:pt x="352" y="26"/>
                        <a:pt x="349" y="28"/>
                        <a:pt x="344" y="28"/>
                      </a:cubicBezTo>
                      <a:cubicBezTo>
                        <a:pt x="330" y="28"/>
                        <a:pt x="330" y="28"/>
                        <a:pt x="330" y="28"/>
                      </a:cubicBezTo>
                      <a:cubicBezTo>
                        <a:pt x="326" y="28"/>
                        <a:pt x="322" y="32"/>
                        <a:pt x="322" y="36"/>
                      </a:cubicBezTo>
                      <a:cubicBezTo>
                        <a:pt x="322" y="41"/>
                        <a:pt x="326" y="44"/>
                        <a:pt x="330" y="44"/>
                      </a:cubicBezTo>
                      <a:cubicBezTo>
                        <a:pt x="344" y="44"/>
                        <a:pt x="344" y="44"/>
                        <a:pt x="344" y="44"/>
                      </a:cubicBezTo>
                      <a:cubicBezTo>
                        <a:pt x="353" y="44"/>
                        <a:pt x="358" y="41"/>
                        <a:pt x="362" y="38"/>
                      </a:cubicBezTo>
                      <a:cubicBezTo>
                        <a:pt x="366" y="34"/>
                        <a:pt x="368" y="28"/>
                        <a:pt x="368" y="23"/>
                      </a:cubicBezTo>
                      <a:cubicBezTo>
                        <a:pt x="368" y="12"/>
                        <a:pt x="359" y="0"/>
                        <a:pt x="344" y="0"/>
                      </a:cubicBezTo>
                      <a:close/>
                      <a:moveTo>
                        <a:pt x="62" y="280"/>
                      </a:moveTo>
                      <a:cubicBezTo>
                        <a:pt x="55" y="280"/>
                        <a:pt x="50" y="274"/>
                        <a:pt x="50" y="267"/>
                      </a:cubicBezTo>
                      <a:cubicBezTo>
                        <a:pt x="50" y="260"/>
                        <a:pt x="55" y="255"/>
                        <a:pt x="62" y="255"/>
                      </a:cubicBezTo>
                      <a:cubicBezTo>
                        <a:pt x="69" y="255"/>
                        <a:pt x="75" y="260"/>
                        <a:pt x="75" y="267"/>
                      </a:cubicBezTo>
                      <a:cubicBezTo>
                        <a:pt x="75" y="274"/>
                        <a:pt x="69" y="280"/>
                        <a:pt x="62" y="280"/>
                      </a:cubicBezTo>
                      <a:close/>
                      <a:moveTo>
                        <a:pt x="211" y="280"/>
                      </a:moveTo>
                      <a:cubicBezTo>
                        <a:pt x="204" y="280"/>
                        <a:pt x="199" y="274"/>
                        <a:pt x="199" y="267"/>
                      </a:cubicBezTo>
                      <a:cubicBezTo>
                        <a:pt x="199" y="260"/>
                        <a:pt x="204" y="255"/>
                        <a:pt x="211" y="255"/>
                      </a:cubicBezTo>
                      <a:cubicBezTo>
                        <a:pt x="218" y="255"/>
                        <a:pt x="224" y="260"/>
                        <a:pt x="224" y="267"/>
                      </a:cubicBezTo>
                      <a:cubicBezTo>
                        <a:pt x="224" y="274"/>
                        <a:pt x="218" y="280"/>
                        <a:pt x="211" y="28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8585A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1" name="TextBox 110">
                  <a:extLst>
                    <a:ext uri="{FF2B5EF4-FFF2-40B4-BE49-F238E27FC236}">
                      <a16:creationId xmlns="" xmlns:a16="http://schemas.microsoft.com/office/drawing/2014/main" id="{E071937C-46DD-4EE5-BD48-B9BAF39C1D04}"/>
                    </a:ext>
                  </a:extLst>
                </p:cNvPr>
                <p:cNvSpPr txBox="1"/>
                <p:nvPr/>
              </p:nvSpPr>
              <p:spPr>
                <a:xfrm>
                  <a:off x="1620246" y="4580896"/>
                  <a:ext cx="247469" cy="38253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itchFamily="34" charset="-128"/>
                      <a:cs typeface="Arial" panose="020B0604020202020204" pitchFamily="34" charset="0"/>
                    </a:rPr>
                    <a:t>@</a:t>
                  </a:r>
                </a:p>
              </p:txBody>
            </p:sp>
          </p:grpSp>
        </p:grpSp>
        <p:grpSp>
          <p:nvGrpSpPr>
            <p:cNvPr id="112" name="Group 111">
              <a:extLst>
                <a:ext uri="{FF2B5EF4-FFF2-40B4-BE49-F238E27FC236}">
                  <a16:creationId xmlns="" xmlns:a16="http://schemas.microsoft.com/office/drawing/2014/main" id="{B0E14A4B-F587-46F7-823B-8D40CCD80240}"/>
                </a:ext>
              </a:extLst>
            </p:cNvPr>
            <p:cNvGrpSpPr/>
            <p:nvPr/>
          </p:nvGrpSpPr>
          <p:grpSpPr>
            <a:xfrm>
              <a:off x="3120464" y="3109560"/>
              <a:ext cx="719504" cy="720244"/>
              <a:chOff x="580998" y="3027654"/>
              <a:chExt cx="719504" cy="720244"/>
            </a:xfrm>
          </p:grpSpPr>
          <p:sp>
            <p:nvSpPr>
              <p:cNvPr id="113" name="Rounded Rectangle 103">
                <a:extLst>
                  <a:ext uri="{FF2B5EF4-FFF2-40B4-BE49-F238E27FC236}">
                    <a16:creationId xmlns="" xmlns:a16="http://schemas.microsoft.com/office/drawing/2014/main" id="{12F10185-645C-408F-8A14-D67E9E1F1C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998" y="3027654"/>
                <a:ext cx="719504" cy="720244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20000"/>
                </a:schemeClr>
              </a:solidFill>
              <a:ln w="2540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71988" tIns="45718" rIns="71988" bIns="45718"/>
              <a:lstStyle>
                <a:lvl1pPr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Ericsson Sans Medium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4" name="Freeform 3">
                <a:extLst>
                  <a:ext uri="{FF2B5EF4-FFF2-40B4-BE49-F238E27FC236}">
                    <a16:creationId xmlns="" xmlns:a16="http://schemas.microsoft.com/office/drawing/2014/main" id="{9321CB75-BCFF-4F07-9AE8-A9C9974828DF}"/>
                  </a:ext>
                </a:extLst>
              </p:cNvPr>
              <p:cNvSpPr>
                <a:spLocks noChangeAspect="1" noEditPoint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670305" y="3242248"/>
                <a:ext cx="540641" cy="262910"/>
              </a:xfrm>
              <a:custGeom>
                <a:avLst/>
                <a:gdLst>
                  <a:gd name="T0" fmla="*/ 2147483647 w 448"/>
                  <a:gd name="T1" fmla="*/ 2147483647 h 208"/>
                  <a:gd name="T2" fmla="*/ 2147483647 w 448"/>
                  <a:gd name="T3" fmla="*/ 2147483647 h 208"/>
                  <a:gd name="T4" fmla="*/ 2147483647 w 448"/>
                  <a:gd name="T5" fmla="*/ 2147483647 h 208"/>
                  <a:gd name="T6" fmla="*/ 2147483647 w 448"/>
                  <a:gd name="T7" fmla="*/ 2147483647 h 208"/>
                  <a:gd name="T8" fmla="*/ 2147483647 w 448"/>
                  <a:gd name="T9" fmla="*/ 2147483647 h 208"/>
                  <a:gd name="T10" fmla="*/ 2147483647 w 448"/>
                  <a:gd name="T11" fmla="*/ 2147483647 h 208"/>
                  <a:gd name="T12" fmla="*/ 2147483647 w 448"/>
                  <a:gd name="T13" fmla="*/ 2147483647 h 208"/>
                  <a:gd name="T14" fmla="*/ 2147483647 w 448"/>
                  <a:gd name="T15" fmla="*/ 2147483647 h 208"/>
                  <a:gd name="T16" fmla="*/ 2147483647 w 448"/>
                  <a:gd name="T17" fmla="*/ 2147483647 h 208"/>
                  <a:gd name="T18" fmla="*/ 2147483647 w 448"/>
                  <a:gd name="T19" fmla="*/ 2147483647 h 208"/>
                  <a:gd name="T20" fmla="*/ 2147483647 w 448"/>
                  <a:gd name="T21" fmla="*/ 2147483647 h 208"/>
                  <a:gd name="T22" fmla="*/ 2147483647 w 448"/>
                  <a:gd name="T23" fmla="*/ 2147483647 h 208"/>
                  <a:gd name="T24" fmla="*/ 2147483647 w 448"/>
                  <a:gd name="T25" fmla="*/ 2147483647 h 208"/>
                  <a:gd name="T26" fmla="*/ 2147483647 w 448"/>
                  <a:gd name="T27" fmla="*/ 2147483647 h 208"/>
                  <a:gd name="T28" fmla="*/ 2147483647 w 448"/>
                  <a:gd name="T29" fmla="*/ 2147483647 h 208"/>
                  <a:gd name="T30" fmla="*/ 2147483647 w 448"/>
                  <a:gd name="T31" fmla="*/ 2147483647 h 208"/>
                  <a:gd name="T32" fmla="*/ 2147483647 w 448"/>
                  <a:gd name="T33" fmla="*/ 2147483647 h 208"/>
                  <a:gd name="T34" fmla="*/ 2147483647 w 448"/>
                  <a:gd name="T35" fmla="*/ 2147483647 h 208"/>
                  <a:gd name="T36" fmla="*/ 2147483647 w 448"/>
                  <a:gd name="T37" fmla="*/ 2147483647 h 208"/>
                  <a:gd name="T38" fmla="*/ 2147483647 w 448"/>
                  <a:gd name="T39" fmla="*/ 2147483647 h 208"/>
                  <a:gd name="T40" fmla="*/ 2147483647 w 448"/>
                  <a:gd name="T41" fmla="*/ 2147483647 h 208"/>
                  <a:gd name="T42" fmla="*/ 2147483647 w 448"/>
                  <a:gd name="T43" fmla="*/ 2147483647 h 208"/>
                  <a:gd name="T44" fmla="*/ 2147483647 w 448"/>
                  <a:gd name="T45" fmla="*/ 2147483647 h 208"/>
                  <a:gd name="T46" fmla="*/ 2147483647 w 448"/>
                  <a:gd name="T47" fmla="*/ 2147483647 h 208"/>
                  <a:gd name="T48" fmla="*/ 2147483647 w 448"/>
                  <a:gd name="T49" fmla="*/ 2147483647 h 208"/>
                  <a:gd name="T50" fmla="*/ 2147483647 w 448"/>
                  <a:gd name="T51" fmla="*/ 2147483647 h 208"/>
                  <a:gd name="T52" fmla="*/ 2147483647 w 448"/>
                  <a:gd name="T53" fmla="*/ 2147483647 h 208"/>
                  <a:gd name="T54" fmla="*/ 2147483647 w 448"/>
                  <a:gd name="T55" fmla="*/ 2147483647 h 208"/>
                  <a:gd name="T56" fmla="*/ 2147483647 w 448"/>
                  <a:gd name="T57" fmla="*/ 2147483647 h 208"/>
                  <a:gd name="T58" fmla="*/ 2147483647 w 448"/>
                  <a:gd name="T59" fmla="*/ 2147483647 h 208"/>
                  <a:gd name="T60" fmla="*/ 2147483647 w 448"/>
                  <a:gd name="T61" fmla="*/ 2147483647 h 208"/>
                  <a:gd name="T62" fmla="*/ 2147483647 w 448"/>
                  <a:gd name="T63" fmla="*/ 2147483647 h 208"/>
                  <a:gd name="T64" fmla="*/ 2147483647 w 448"/>
                  <a:gd name="T65" fmla="*/ 2147483647 h 208"/>
                  <a:gd name="T66" fmla="*/ 2147483647 w 448"/>
                  <a:gd name="T67" fmla="*/ 2147483647 h 208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448"/>
                  <a:gd name="T103" fmla="*/ 0 h 208"/>
                  <a:gd name="T104" fmla="*/ 448 w 448"/>
                  <a:gd name="T105" fmla="*/ 208 h 208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448" h="208">
                    <a:moveTo>
                      <a:pt x="447" y="114"/>
                    </a:moveTo>
                    <a:cubicBezTo>
                      <a:pt x="446" y="110"/>
                      <a:pt x="442" y="107"/>
                      <a:pt x="437" y="108"/>
                    </a:cubicBezTo>
                    <a:cubicBezTo>
                      <a:pt x="433" y="109"/>
                      <a:pt x="431" y="114"/>
                      <a:pt x="432" y="118"/>
                    </a:cubicBezTo>
                    <a:cubicBezTo>
                      <a:pt x="432" y="120"/>
                      <a:pt x="432" y="122"/>
                      <a:pt x="432" y="125"/>
                    </a:cubicBezTo>
                    <a:cubicBezTo>
                      <a:pt x="432" y="142"/>
                      <a:pt x="427" y="154"/>
                      <a:pt x="423" y="161"/>
                    </a:cubicBezTo>
                    <a:cubicBezTo>
                      <a:pt x="420" y="164"/>
                      <a:pt x="418" y="167"/>
                      <a:pt x="416" y="169"/>
                    </a:cubicBezTo>
                    <a:cubicBezTo>
                      <a:pt x="416" y="169"/>
                      <a:pt x="416" y="169"/>
                      <a:pt x="416" y="169"/>
                    </a:cubicBezTo>
                    <a:cubicBezTo>
                      <a:pt x="413" y="169"/>
                      <a:pt x="410" y="169"/>
                      <a:pt x="408" y="169"/>
                    </a:cubicBezTo>
                    <a:cubicBezTo>
                      <a:pt x="408" y="167"/>
                      <a:pt x="408" y="165"/>
                      <a:pt x="408" y="163"/>
                    </a:cubicBezTo>
                    <a:cubicBezTo>
                      <a:pt x="408" y="139"/>
                      <a:pt x="388" y="119"/>
                      <a:pt x="363" y="119"/>
                    </a:cubicBezTo>
                    <a:cubicBezTo>
                      <a:pt x="339" y="119"/>
                      <a:pt x="319" y="139"/>
                      <a:pt x="319" y="163"/>
                    </a:cubicBezTo>
                    <a:cubicBezTo>
                      <a:pt x="319" y="165"/>
                      <a:pt x="319" y="167"/>
                      <a:pt x="319" y="169"/>
                    </a:cubicBezTo>
                    <a:cubicBezTo>
                      <a:pt x="266" y="169"/>
                      <a:pt x="197" y="169"/>
                      <a:pt x="140" y="169"/>
                    </a:cubicBezTo>
                    <a:cubicBezTo>
                      <a:pt x="141" y="167"/>
                      <a:pt x="141" y="165"/>
                      <a:pt x="141" y="163"/>
                    </a:cubicBezTo>
                    <a:cubicBezTo>
                      <a:pt x="141" y="139"/>
                      <a:pt x="121" y="119"/>
                      <a:pt x="96" y="119"/>
                    </a:cubicBezTo>
                    <a:cubicBezTo>
                      <a:pt x="71" y="119"/>
                      <a:pt x="52" y="139"/>
                      <a:pt x="51" y="163"/>
                    </a:cubicBezTo>
                    <a:cubicBezTo>
                      <a:pt x="51" y="165"/>
                      <a:pt x="52" y="167"/>
                      <a:pt x="52" y="169"/>
                    </a:cubicBezTo>
                    <a:cubicBezTo>
                      <a:pt x="40" y="169"/>
                      <a:pt x="32" y="169"/>
                      <a:pt x="29" y="169"/>
                    </a:cubicBezTo>
                    <a:cubicBezTo>
                      <a:pt x="23" y="169"/>
                      <a:pt x="21" y="167"/>
                      <a:pt x="19" y="163"/>
                    </a:cubicBezTo>
                    <a:cubicBezTo>
                      <a:pt x="17" y="159"/>
                      <a:pt x="16" y="152"/>
                      <a:pt x="16" y="147"/>
                    </a:cubicBezTo>
                    <a:cubicBezTo>
                      <a:pt x="16" y="136"/>
                      <a:pt x="21" y="126"/>
                      <a:pt x="30" y="118"/>
                    </a:cubicBezTo>
                    <a:cubicBezTo>
                      <a:pt x="44" y="105"/>
                      <a:pt x="67" y="96"/>
                      <a:pt x="85" y="90"/>
                    </a:cubicBezTo>
                    <a:cubicBezTo>
                      <a:pt x="95" y="87"/>
                      <a:pt x="103" y="85"/>
                      <a:pt x="109" y="84"/>
                    </a:cubicBezTo>
                    <a:cubicBezTo>
                      <a:pt x="114" y="83"/>
                      <a:pt x="117" y="82"/>
                      <a:pt x="119" y="82"/>
                    </a:cubicBezTo>
                    <a:cubicBezTo>
                      <a:pt x="384" y="82"/>
                      <a:pt x="384" y="82"/>
                      <a:pt x="384" y="82"/>
                    </a:cubicBezTo>
                    <a:cubicBezTo>
                      <a:pt x="385" y="82"/>
                      <a:pt x="386" y="82"/>
                      <a:pt x="386" y="83"/>
                    </a:cubicBezTo>
                    <a:cubicBezTo>
                      <a:pt x="392" y="84"/>
                      <a:pt x="406" y="89"/>
                      <a:pt x="417" y="97"/>
                    </a:cubicBezTo>
                    <a:cubicBezTo>
                      <a:pt x="420" y="100"/>
                      <a:pt x="425" y="99"/>
                      <a:pt x="428" y="96"/>
                    </a:cubicBezTo>
                    <a:cubicBezTo>
                      <a:pt x="430" y="92"/>
                      <a:pt x="430" y="87"/>
                      <a:pt x="426" y="84"/>
                    </a:cubicBezTo>
                    <a:cubicBezTo>
                      <a:pt x="412" y="74"/>
                      <a:pt x="397" y="69"/>
                      <a:pt x="390" y="67"/>
                    </a:cubicBezTo>
                    <a:cubicBezTo>
                      <a:pt x="380" y="55"/>
                      <a:pt x="333" y="0"/>
                      <a:pt x="248" y="0"/>
                    </a:cubicBezTo>
                    <a:cubicBezTo>
                      <a:pt x="165" y="0"/>
                      <a:pt x="123" y="53"/>
                      <a:pt x="113" y="67"/>
                    </a:cubicBezTo>
                    <a:cubicBezTo>
                      <a:pt x="105" y="68"/>
                      <a:pt x="82" y="73"/>
                      <a:pt x="60" y="82"/>
                    </a:cubicBezTo>
                    <a:cubicBezTo>
                      <a:pt x="46" y="88"/>
                      <a:pt x="31" y="96"/>
                      <a:pt x="20" y="106"/>
                    </a:cubicBezTo>
                    <a:cubicBezTo>
                      <a:pt x="8" y="116"/>
                      <a:pt x="0" y="130"/>
                      <a:pt x="0" y="147"/>
                    </a:cubicBezTo>
                    <a:cubicBezTo>
                      <a:pt x="0" y="153"/>
                      <a:pt x="1" y="162"/>
                      <a:pt x="5" y="170"/>
                    </a:cubicBezTo>
                    <a:cubicBezTo>
                      <a:pt x="8" y="178"/>
                      <a:pt x="17" y="185"/>
                      <a:pt x="29" y="185"/>
                    </a:cubicBezTo>
                    <a:cubicBezTo>
                      <a:pt x="29" y="185"/>
                      <a:pt x="29" y="185"/>
                      <a:pt x="29" y="185"/>
                    </a:cubicBezTo>
                    <a:cubicBezTo>
                      <a:pt x="32" y="185"/>
                      <a:pt x="42" y="185"/>
                      <a:pt x="57" y="185"/>
                    </a:cubicBezTo>
                    <a:cubicBezTo>
                      <a:pt x="65" y="199"/>
                      <a:pt x="79" y="208"/>
                      <a:pt x="96" y="208"/>
                    </a:cubicBezTo>
                    <a:cubicBezTo>
                      <a:pt x="113" y="208"/>
                      <a:pt x="127" y="199"/>
                      <a:pt x="135" y="185"/>
                    </a:cubicBezTo>
                    <a:cubicBezTo>
                      <a:pt x="195" y="185"/>
                      <a:pt x="269" y="185"/>
                      <a:pt x="324" y="185"/>
                    </a:cubicBezTo>
                    <a:cubicBezTo>
                      <a:pt x="332" y="199"/>
                      <a:pt x="347" y="208"/>
                      <a:pt x="363" y="208"/>
                    </a:cubicBezTo>
                    <a:cubicBezTo>
                      <a:pt x="380" y="208"/>
                      <a:pt x="395" y="199"/>
                      <a:pt x="402" y="185"/>
                    </a:cubicBezTo>
                    <a:cubicBezTo>
                      <a:pt x="402" y="185"/>
                      <a:pt x="402" y="185"/>
                      <a:pt x="402" y="185"/>
                    </a:cubicBezTo>
                    <a:cubicBezTo>
                      <a:pt x="405" y="185"/>
                      <a:pt x="419" y="185"/>
                      <a:pt x="419" y="185"/>
                    </a:cubicBezTo>
                    <a:cubicBezTo>
                      <a:pt x="420" y="185"/>
                      <a:pt x="422" y="185"/>
                      <a:pt x="423" y="184"/>
                    </a:cubicBezTo>
                    <a:cubicBezTo>
                      <a:pt x="424" y="183"/>
                      <a:pt x="448" y="166"/>
                      <a:pt x="448" y="125"/>
                    </a:cubicBezTo>
                    <a:cubicBezTo>
                      <a:pt x="448" y="121"/>
                      <a:pt x="448" y="117"/>
                      <a:pt x="447" y="114"/>
                    </a:cubicBezTo>
                    <a:close/>
                    <a:moveTo>
                      <a:pt x="368" y="66"/>
                    </a:moveTo>
                    <a:cubicBezTo>
                      <a:pt x="256" y="66"/>
                      <a:pt x="256" y="66"/>
                      <a:pt x="256" y="66"/>
                    </a:cubicBezTo>
                    <a:cubicBezTo>
                      <a:pt x="256" y="16"/>
                      <a:pt x="256" y="16"/>
                      <a:pt x="256" y="16"/>
                    </a:cubicBezTo>
                    <a:cubicBezTo>
                      <a:pt x="296" y="18"/>
                      <a:pt x="326" y="32"/>
                      <a:pt x="346" y="47"/>
                    </a:cubicBezTo>
                    <a:cubicBezTo>
                      <a:pt x="355" y="54"/>
                      <a:pt x="363" y="61"/>
                      <a:pt x="368" y="66"/>
                    </a:cubicBezTo>
                    <a:close/>
                    <a:moveTo>
                      <a:pt x="240" y="16"/>
                    </a:moveTo>
                    <a:cubicBezTo>
                      <a:pt x="240" y="66"/>
                      <a:pt x="240" y="66"/>
                      <a:pt x="240" y="66"/>
                    </a:cubicBezTo>
                    <a:cubicBezTo>
                      <a:pt x="134" y="66"/>
                      <a:pt x="134" y="66"/>
                      <a:pt x="134" y="66"/>
                    </a:cubicBezTo>
                    <a:cubicBezTo>
                      <a:pt x="149" y="49"/>
                      <a:pt x="183" y="18"/>
                      <a:pt x="240" y="16"/>
                    </a:cubicBezTo>
                    <a:close/>
                    <a:moveTo>
                      <a:pt x="96" y="192"/>
                    </a:moveTo>
                    <a:cubicBezTo>
                      <a:pt x="80" y="192"/>
                      <a:pt x="68" y="179"/>
                      <a:pt x="67" y="163"/>
                    </a:cubicBezTo>
                    <a:cubicBezTo>
                      <a:pt x="68" y="148"/>
                      <a:pt x="80" y="135"/>
                      <a:pt x="96" y="135"/>
                    </a:cubicBezTo>
                    <a:cubicBezTo>
                      <a:pt x="112" y="135"/>
                      <a:pt x="125" y="148"/>
                      <a:pt x="125" y="163"/>
                    </a:cubicBezTo>
                    <a:cubicBezTo>
                      <a:pt x="125" y="179"/>
                      <a:pt x="112" y="192"/>
                      <a:pt x="96" y="192"/>
                    </a:cubicBezTo>
                    <a:close/>
                    <a:moveTo>
                      <a:pt x="363" y="192"/>
                    </a:moveTo>
                    <a:cubicBezTo>
                      <a:pt x="347" y="192"/>
                      <a:pt x="335" y="179"/>
                      <a:pt x="335" y="163"/>
                    </a:cubicBezTo>
                    <a:cubicBezTo>
                      <a:pt x="335" y="148"/>
                      <a:pt x="347" y="135"/>
                      <a:pt x="363" y="135"/>
                    </a:cubicBezTo>
                    <a:cubicBezTo>
                      <a:pt x="379" y="135"/>
                      <a:pt x="392" y="148"/>
                      <a:pt x="392" y="163"/>
                    </a:cubicBezTo>
                    <a:cubicBezTo>
                      <a:pt x="392" y="179"/>
                      <a:pt x="379" y="192"/>
                      <a:pt x="363" y="19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91377" tIns="45688" rIns="91377" bIns="45688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8585A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5" name="Rounded Rectangle 103">
              <a:extLst>
                <a:ext uri="{FF2B5EF4-FFF2-40B4-BE49-F238E27FC236}">
                  <a16:creationId xmlns="" xmlns:a16="http://schemas.microsoft.com/office/drawing/2014/main" id="{01F3E456-FB2E-426C-9F3F-EE5117E476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28014" y="2264739"/>
              <a:ext cx="719504" cy="720244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20000"/>
              </a:schemeClr>
            </a:solidFill>
            <a:ln w="25400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71988" tIns="45718" rIns="71988" bIns="45718"/>
            <a:lstStyle>
              <a:lvl1pPr>
                <a:defRPr sz="2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Ericsson Sans Medium" charset="0"/>
                <a:cs typeface="Arial" panose="020B0604020202020204" pitchFamily="34" charset="0"/>
              </a:endParaRPr>
            </a:p>
          </p:txBody>
        </p:sp>
        <p:sp>
          <p:nvSpPr>
            <p:cNvPr id="116" name="Freeform 28">
              <a:extLst>
                <a:ext uri="{FF2B5EF4-FFF2-40B4-BE49-F238E27FC236}">
                  <a16:creationId xmlns="" xmlns:a16="http://schemas.microsoft.com/office/drawing/2014/main" id="{006EA585-AD6B-433C-97AA-685637D1CA6A}"/>
                </a:ext>
              </a:extLst>
            </p:cNvPr>
            <p:cNvSpPr>
              <a:spLocks noChangeAspect="1"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3343795" y="2403970"/>
              <a:ext cx="299740" cy="465614"/>
            </a:xfrm>
            <a:custGeom>
              <a:avLst/>
              <a:gdLst>
                <a:gd name="T0" fmla="*/ 2147483647 w 275"/>
                <a:gd name="T1" fmla="*/ 2147483647 h 503"/>
                <a:gd name="T2" fmla="*/ 2147483647 w 275"/>
                <a:gd name="T3" fmla="*/ 2147483647 h 503"/>
                <a:gd name="T4" fmla="*/ 2147483647 w 275"/>
                <a:gd name="T5" fmla="*/ 2147483647 h 503"/>
                <a:gd name="T6" fmla="*/ 2147483647 w 275"/>
                <a:gd name="T7" fmla="*/ 2147483647 h 503"/>
                <a:gd name="T8" fmla="*/ 2147483647 w 275"/>
                <a:gd name="T9" fmla="*/ 2147483647 h 503"/>
                <a:gd name="T10" fmla="*/ 2147483647 w 275"/>
                <a:gd name="T11" fmla="*/ 2147483647 h 503"/>
                <a:gd name="T12" fmla="*/ 2147483647 w 275"/>
                <a:gd name="T13" fmla="*/ 2147483647 h 503"/>
                <a:gd name="T14" fmla="*/ 2147483647 w 275"/>
                <a:gd name="T15" fmla="*/ 2147483647 h 503"/>
                <a:gd name="T16" fmla="*/ 2147483647 w 275"/>
                <a:gd name="T17" fmla="*/ 2147483647 h 503"/>
                <a:gd name="T18" fmla="*/ 2147483647 w 275"/>
                <a:gd name="T19" fmla="*/ 2147483647 h 503"/>
                <a:gd name="T20" fmla="*/ 2147483647 w 275"/>
                <a:gd name="T21" fmla="*/ 2147483647 h 503"/>
                <a:gd name="T22" fmla="*/ 2147483647 w 275"/>
                <a:gd name="T23" fmla="*/ 2147483647 h 503"/>
                <a:gd name="T24" fmla="*/ 2147483647 w 275"/>
                <a:gd name="T25" fmla="*/ 2147483647 h 503"/>
                <a:gd name="T26" fmla="*/ 2147483647 w 275"/>
                <a:gd name="T27" fmla="*/ 2147483647 h 503"/>
                <a:gd name="T28" fmla="*/ 2147483647 w 275"/>
                <a:gd name="T29" fmla="*/ 2147483647 h 503"/>
                <a:gd name="T30" fmla="*/ 2147483647 w 275"/>
                <a:gd name="T31" fmla="*/ 2147483647 h 503"/>
                <a:gd name="T32" fmla="*/ 2147483647 w 275"/>
                <a:gd name="T33" fmla="*/ 2147483647 h 503"/>
                <a:gd name="T34" fmla="*/ 2147483647 w 275"/>
                <a:gd name="T35" fmla="*/ 2147483647 h 503"/>
                <a:gd name="T36" fmla="*/ 2147483647 w 275"/>
                <a:gd name="T37" fmla="*/ 2147483647 h 503"/>
                <a:gd name="T38" fmla="*/ 2147483647 w 275"/>
                <a:gd name="T39" fmla="*/ 2147483647 h 503"/>
                <a:gd name="T40" fmla="*/ 2147483647 w 275"/>
                <a:gd name="T41" fmla="*/ 2147483647 h 503"/>
                <a:gd name="T42" fmla="*/ 2147483647 w 275"/>
                <a:gd name="T43" fmla="*/ 2147483647 h 503"/>
                <a:gd name="T44" fmla="*/ 2147483647 w 275"/>
                <a:gd name="T45" fmla="*/ 2147483647 h 503"/>
                <a:gd name="T46" fmla="*/ 2147483647 w 275"/>
                <a:gd name="T47" fmla="*/ 2147483647 h 503"/>
                <a:gd name="T48" fmla="*/ 2147483647 w 275"/>
                <a:gd name="T49" fmla="*/ 2147483647 h 503"/>
                <a:gd name="T50" fmla="*/ 2147483647 w 275"/>
                <a:gd name="T51" fmla="*/ 2147483647 h 503"/>
                <a:gd name="T52" fmla="*/ 2147483647 w 275"/>
                <a:gd name="T53" fmla="*/ 2147483647 h 503"/>
                <a:gd name="T54" fmla="*/ 2147483647 w 275"/>
                <a:gd name="T55" fmla="*/ 2147483647 h 503"/>
                <a:gd name="T56" fmla="*/ 2147483647 w 275"/>
                <a:gd name="T57" fmla="*/ 2147483647 h 503"/>
                <a:gd name="T58" fmla="*/ 2147483647 w 275"/>
                <a:gd name="T59" fmla="*/ 2147483647 h 503"/>
                <a:gd name="T60" fmla="*/ 2147483647 w 275"/>
                <a:gd name="T61" fmla="*/ 2147483647 h 503"/>
                <a:gd name="T62" fmla="*/ 2147483647 w 275"/>
                <a:gd name="T63" fmla="*/ 2147483647 h 503"/>
                <a:gd name="T64" fmla="*/ 2147483647 w 275"/>
                <a:gd name="T65" fmla="*/ 2147483647 h 503"/>
                <a:gd name="T66" fmla="*/ 2147483647 w 275"/>
                <a:gd name="T67" fmla="*/ 2147483647 h 503"/>
                <a:gd name="T68" fmla="*/ 2147483647 w 275"/>
                <a:gd name="T69" fmla="*/ 2147483647 h 503"/>
                <a:gd name="T70" fmla="*/ 2147483647 w 275"/>
                <a:gd name="T71" fmla="*/ 2147483647 h 503"/>
                <a:gd name="T72" fmla="*/ 2147483647 w 275"/>
                <a:gd name="T73" fmla="*/ 2147483647 h 503"/>
                <a:gd name="T74" fmla="*/ 2147483647 w 275"/>
                <a:gd name="T75" fmla="*/ 2147483647 h 503"/>
                <a:gd name="T76" fmla="*/ 2147483647 w 275"/>
                <a:gd name="T77" fmla="*/ 2147483647 h 503"/>
                <a:gd name="T78" fmla="*/ 2147483647 w 275"/>
                <a:gd name="T79" fmla="*/ 2147483647 h 503"/>
                <a:gd name="T80" fmla="*/ 2147483647 w 275"/>
                <a:gd name="T81" fmla="*/ 2147483647 h 503"/>
                <a:gd name="T82" fmla="*/ 2147483647 w 275"/>
                <a:gd name="T83" fmla="*/ 2147483647 h 503"/>
                <a:gd name="T84" fmla="*/ 2147483647 w 275"/>
                <a:gd name="T85" fmla="*/ 2147483647 h 503"/>
                <a:gd name="T86" fmla="*/ 2147483647 w 275"/>
                <a:gd name="T87" fmla="*/ 0 h 503"/>
                <a:gd name="T88" fmla="*/ 2147483647 w 275"/>
                <a:gd name="T89" fmla="*/ 2147483647 h 503"/>
                <a:gd name="T90" fmla="*/ 0 w 275"/>
                <a:gd name="T91" fmla="*/ 2147483647 h 503"/>
                <a:gd name="T92" fmla="*/ 2147483647 w 275"/>
                <a:gd name="T93" fmla="*/ 2147483647 h 503"/>
                <a:gd name="T94" fmla="*/ 2147483647 w 275"/>
                <a:gd name="T95" fmla="*/ 2147483647 h 503"/>
                <a:gd name="T96" fmla="*/ 2147483647 w 275"/>
                <a:gd name="T97" fmla="*/ 2147483647 h 503"/>
                <a:gd name="T98" fmla="*/ 2147483647 w 275"/>
                <a:gd name="T99" fmla="*/ 2147483647 h 503"/>
                <a:gd name="T100" fmla="*/ 2147483647 w 275"/>
                <a:gd name="T101" fmla="*/ 2147483647 h 503"/>
                <a:gd name="T102" fmla="*/ 2147483647 w 275"/>
                <a:gd name="T103" fmla="*/ 2147483647 h 503"/>
                <a:gd name="T104" fmla="*/ 2147483647 w 275"/>
                <a:gd name="T105" fmla="*/ 2147483647 h 503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75"/>
                <a:gd name="T160" fmla="*/ 0 h 503"/>
                <a:gd name="T161" fmla="*/ 275 w 275"/>
                <a:gd name="T162" fmla="*/ 503 h 503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75" h="503">
                  <a:moveTo>
                    <a:pt x="244" y="77"/>
                  </a:moveTo>
                  <a:cubicBezTo>
                    <a:pt x="244" y="70"/>
                    <a:pt x="240" y="66"/>
                    <a:pt x="236" y="64"/>
                  </a:cubicBezTo>
                  <a:cubicBezTo>
                    <a:pt x="233" y="62"/>
                    <a:pt x="230" y="61"/>
                    <a:pt x="230" y="61"/>
                  </a:cubicBezTo>
                  <a:cubicBezTo>
                    <a:pt x="229" y="61"/>
                    <a:pt x="229" y="61"/>
                    <a:pt x="229" y="61"/>
                  </a:cubicBezTo>
                  <a:cubicBezTo>
                    <a:pt x="228" y="61"/>
                    <a:pt x="178" y="57"/>
                    <a:pt x="137" y="57"/>
                  </a:cubicBezTo>
                  <a:cubicBezTo>
                    <a:pt x="97" y="57"/>
                    <a:pt x="46" y="61"/>
                    <a:pt x="46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4" y="61"/>
                    <a:pt x="41" y="62"/>
                    <a:pt x="38" y="64"/>
                  </a:cubicBezTo>
                  <a:cubicBezTo>
                    <a:pt x="35" y="66"/>
                    <a:pt x="30" y="70"/>
                    <a:pt x="30" y="77"/>
                  </a:cubicBezTo>
                  <a:cubicBezTo>
                    <a:pt x="30" y="84"/>
                    <a:pt x="30" y="389"/>
                    <a:pt x="30" y="400"/>
                  </a:cubicBezTo>
                  <a:cubicBezTo>
                    <a:pt x="30" y="409"/>
                    <a:pt x="35" y="415"/>
                    <a:pt x="40" y="417"/>
                  </a:cubicBezTo>
                  <a:cubicBezTo>
                    <a:pt x="45" y="420"/>
                    <a:pt x="48" y="420"/>
                    <a:pt x="49" y="420"/>
                  </a:cubicBezTo>
                  <a:cubicBezTo>
                    <a:pt x="49" y="420"/>
                    <a:pt x="90" y="421"/>
                    <a:pt x="137" y="421"/>
                  </a:cubicBezTo>
                  <a:cubicBezTo>
                    <a:pt x="184" y="421"/>
                    <a:pt x="225" y="420"/>
                    <a:pt x="225" y="420"/>
                  </a:cubicBezTo>
                  <a:cubicBezTo>
                    <a:pt x="226" y="420"/>
                    <a:pt x="230" y="420"/>
                    <a:pt x="234" y="417"/>
                  </a:cubicBezTo>
                  <a:cubicBezTo>
                    <a:pt x="239" y="415"/>
                    <a:pt x="245" y="409"/>
                    <a:pt x="244" y="400"/>
                  </a:cubicBezTo>
                  <a:cubicBezTo>
                    <a:pt x="244" y="389"/>
                    <a:pt x="244" y="84"/>
                    <a:pt x="244" y="77"/>
                  </a:cubicBezTo>
                  <a:close/>
                  <a:moveTo>
                    <a:pt x="228" y="400"/>
                  </a:moveTo>
                  <a:cubicBezTo>
                    <a:pt x="228" y="403"/>
                    <a:pt x="228" y="402"/>
                    <a:pt x="227" y="403"/>
                  </a:cubicBezTo>
                  <a:cubicBezTo>
                    <a:pt x="226" y="403"/>
                    <a:pt x="226" y="404"/>
                    <a:pt x="225" y="404"/>
                  </a:cubicBezTo>
                  <a:cubicBezTo>
                    <a:pt x="225" y="404"/>
                    <a:pt x="224" y="404"/>
                    <a:pt x="224" y="404"/>
                  </a:cubicBezTo>
                  <a:cubicBezTo>
                    <a:pt x="223" y="404"/>
                    <a:pt x="183" y="405"/>
                    <a:pt x="137" y="405"/>
                  </a:cubicBezTo>
                  <a:cubicBezTo>
                    <a:pt x="92" y="405"/>
                    <a:pt x="52" y="404"/>
                    <a:pt x="50" y="404"/>
                  </a:cubicBezTo>
                  <a:cubicBezTo>
                    <a:pt x="49" y="404"/>
                    <a:pt x="48" y="403"/>
                    <a:pt x="47" y="403"/>
                  </a:cubicBezTo>
                  <a:cubicBezTo>
                    <a:pt x="46" y="402"/>
                    <a:pt x="46" y="402"/>
                    <a:pt x="46" y="400"/>
                  </a:cubicBezTo>
                  <a:cubicBezTo>
                    <a:pt x="46" y="389"/>
                    <a:pt x="46" y="91"/>
                    <a:pt x="46" y="78"/>
                  </a:cubicBezTo>
                  <a:cubicBezTo>
                    <a:pt x="46" y="78"/>
                    <a:pt x="47" y="77"/>
                    <a:pt x="47" y="77"/>
                  </a:cubicBezTo>
                  <a:cubicBezTo>
                    <a:pt x="47" y="77"/>
                    <a:pt x="48" y="77"/>
                    <a:pt x="48" y="77"/>
                  </a:cubicBezTo>
                  <a:cubicBezTo>
                    <a:pt x="54" y="76"/>
                    <a:pt x="100" y="73"/>
                    <a:pt x="137" y="73"/>
                  </a:cubicBezTo>
                  <a:cubicBezTo>
                    <a:pt x="157" y="73"/>
                    <a:pt x="179" y="74"/>
                    <a:pt x="197" y="75"/>
                  </a:cubicBezTo>
                  <a:cubicBezTo>
                    <a:pt x="212" y="76"/>
                    <a:pt x="223" y="77"/>
                    <a:pt x="226" y="77"/>
                  </a:cubicBezTo>
                  <a:cubicBezTo>
                    <a:pt x="227" y="77"/>
                    <a:pt x="228" y="77"/>
                    <a:pt x="228" y="78"/>
                  </a:cubicBezTo>
                  <a:cubicBezTo>
                    <a:pt x="228" y="78"/>
                    <a:pt x="228" y="78"/>
                    <a:pt x="228" y="78"/>
                  </a:cubicBezTo>
                  <a:cubicBezTo>
                    <a:pt x="228" y="91"/>
                    <a:pt x="228" y="389"/>
                    <a:pt x="228" y="400"/>
                  </a:cubicBezTo>
                  <a:close/>
                  <a:moveTo>
                    <a:pt x="111" y="457"/>
                  </a:moveTo>
                  <a:cubicBezTo>
                    <a:pt x="106" y="457"/>
                    <a:pt x="103" y="461"/>
                    <a:pt x="103" y="465"/>
                  </a:cubicBezTo>
                  <a:cubicBezTo>
                    <a:pt x="103" y="470"/>
                    <a:pt x="106" y="473"/>
                    <a:pt x="111" y="473"/>
                  </a:cubicBezTo>
                  <a:cubicBezTo>
                    <a:pt x="164" y="473"/>
                    <a:pt x="164" y="473"/>
                    <a:pt x="164" y="473"/>
                  </a:cubicBezTo>
                  <a:cubicBezTo>
                    <a:pt x="168" y="473"/>
                    <a:pt x="172" y="470"/>
                    <a:pt x="172" y="465"/>
                  </a:cubicBezTo>
                  <a:cubicBezTo>
                    <a:pt x="172" y="461"/>
                    <a:pt x="168" y="457"/>
                    <a:pt x="164" y="457"/>
                  </a:cubicBezTo>
                  <a:lnTo>
                    <a:pt x="111" y="457"/>
                  </a:lnTo>
                  <a:close/>
                  <a:moveTo>
                    <a:pt x="235" y="448"/>
                  </a:moveTo>
                  <a:cubicBezTo>
                    <a:pt x="189" y="455"/>
                    <a:pt x="189" y="455"/>
                    <a:pt x="189" y="455"/>
                  </a:cubicBezTo>
                  <a:cubicBezTo>
                    <a:pt x="184" y="456"/>
                    <a:pt x="181" y="460"/>
                    <a:pt x="182" y="465"/>
                  </a:cubicBezTo>
                  <a:cubicBezTo>
                    <a:pt x="183" y="468"/>
                    <a:pt x="186" y="471"/>
                    <a:pt x="190" y="471"/>
                  </a:cubicBezTo>
                  <a:cubicBezTo>
                    <a:pt x="190" y="471"/>
                    <a:pt x="191" y="471"/>
                    <a:pt x="191" y="471"/>
                  </a:cubicBezTo>
                  <a:cubicBezTo>
                    <a:pt x="238" y="463"/>
                    <a:pt x="238" y="463"/>
                    <a:pt x="238" y="463"/>
                  </a:cubicBezTo>
                  <a:cubicBezTo>
                    <a:pt x="242" y="463"/>
                    <a:pt x="245" y="459"/>
                    <a:pt x="244" y="454"/>
                  </a:cubicBezTo>
                  <a:cubicBezTo>
                    <a:pt x="244" y="450"/>
                    <a:pt x="239" y="447"/>
                    <a:pt x="235" y="448"/>
                  </a:cubicBezTo>
                  <a:close/>
                  <a:moveTo>
                    <a:pt x="39" y="448"/>
                  </a:moveTo>
                  <a:cubicBezTo>
                    <a:pt x="35" y="447"/>
                    <a:pt x="31" y="450"/>
                    <a:pt x="30" y="454"/>
                  </a:cubicBezTo>
                  <a:cubicBezTo>
                    <a:pt x="29" y="459"/>
                    <a:pt x="32" y="463"/>
                    <a:pt x="37" y="463"/>
                  </a:cubicBezTo>
                  <a:cubicBezTo>
                    <a:pt x="83" y="471"/>
                    <a:pt x="83" y="471"/>
                    <a:pt x="83" y="471"/>
                  </a:cubicBezTo>
                  <a:cubicBezTo>
                    <a:pt x="84" y="471"/>
                    <a:pt x="84" y="471"/>
                    <a:pt x="84" y="471"/>
                  </a:cubicBezTo>
                  <a:cubicBezTo>
                    <a:pt x="88" y="471"/>
                    <a:pt x="92" y="468"/>
                    <a:pt x="92" y="465"/>
                  </a:cubicBezTo>
                  <a:cubicBezTo>
                    <a:pt x="93" y="460"/>
                    <a:pt x="90" y="456"/>
                    <a:pt x="86" y="455"/>
                  </a:cubicBezTo>
                  <a:lnTo>
                    <a:pt x="39" y="448"/>
                  </a:lnTo>
                  <a:close/>
                  <a:moveTo>
                    <a:pt x="266" y="99"/>
                  </a:moveTo>
                  <a:cubicBezTo>
                    <a:pt x="262" y="99"/>
                    <a:pt x="258" y="102"/>
                    <a:pt x="258" y="107"/>
                  </a:cubicBezTo>
                  <a:cubicBezTo>
                    <a:pt x="258" y="234"/>
                    <a:pt x="258" y="467"/>
                    <a:pt x="258" y="477"/>
                  </a:cubicBezTo>
                  <a:cubicBezTo>
                    <a:pt x="258" y="482"/>
                    <a:pt x="257" y="482"/>
                    <a:pt x="255" y="483"/>
                  </a:cubicBezTo>
                  <a:cubicBezTo>
                    <a:pt x="254" y="484"/>
                    <a:pt x="253" y="484"/>
                    <a:pt x="252" y="484"/>
                  </a:cubicBezTo>
                  <a:cubicBezTo>
                    <a:pt x="251" y="485"/>
                    <a:pt x="251" y="485"/>
                    <a:pt x="251" y="485"/>
                  </a:cubicBezTo>
                  <a:cubicBezTo>
                    <a:pt x="251" y="485"/>
                    <a:pt x="251" y="485"/>
                    <a:pt x="251" y="485"/>
                  </a:cubicBezTo>
                  <a:cubicBezTo>
                    <a:pt x="249" y="485"/>
                    <a:pt x="197" y="487"/>
                    <a:pt x="137" y="486"/>
                  </a:cubicBezTo>
                  <a:cubicBezTo>
                    <a:pt x="77" y="487"/>
                    <a:pt x="25" y="485"/>
                    <a:pt x="23" y="485"/>
                  </a:cubicBezTo>
                  <a:cubicBezTo>
                    <a:pt x="23" y="485"/>
                    <a:pt x="20" y="484"/>
                    <a:pt x="19" y="483"/>
                  </a:cubicBezTo>
                  <a:cubicBezTo>
                    <a:pt x="17" y="482"/>
                    <a:pt x="16" y="481"/>
                    <a:pt x="16" y="477"/>
                  </a:cubicBezTo>
                  <a:cubicBezTo>
                    <a:pt x="16" y="463"/>
                    <a:pt x="16" y="34"/>
                    <a:pt x="16" y="25"/>
                  </a:cubicBezTo>
                  <a:cubicBezTo>
                    <a:pt x="16" y="25"/>
                    <a:pt x="16" y="24"/>
                    <a:pt x="18" y="23"/>
                  </a:cubicBezTo>
                  <a:cubicBezTo>
                    <a:pt x="18" y="23"/>
                    <a:pt x="19" y="22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4" y="21"/>
                    <a:pt x="39" y="20"/>
                    <a:pt x="59" y="19"/>
                  </a:cubicBezTo>
                  <a:cubicBezTo>
                    <a:pt x="68" y="19"/>
                    <a:pt x="78" y="18"/>
                    <a:pt x="88" y="18"/>
                  </a:cubicBezTo>
                  <a:cubicBezTo>
                    <a:pt x="96" y="33"/>
                    <a:pt x="115" y="43"/>
                    <a:pt x="137" y="43"/>
                  </a:cubicBezTo>
                  <a:cubicBezTo>
                    <a:pt x="159" y="43"/>
                    <a:pt x="178" y="33"/>
                    <a:pt x="186" y="18"/>
                  </a:cubicBezTo>
                  <a:cubicBezTo>
                    <a:pt x="220" y="19"/>
                    <a:pt x="249" y="21"/>
                    <a:pt x="254" y="22"/>
                  </a:cubicBezTo>
                  <a:cubicBezTo>
                    <a:pt x="255" y="22"/>
                    <a:pt x="256" y="23"/>
                    <a:pt x="257" y="23"/>
                  </a:cubicBezTo>
                  <a:cubicBezTo>
                    <a:pt x="258" y="24"/>
                    <a:pt x="258" y="24"/>
                    <a:pt x="258" y="25"/>
                  </a:cubicBezTo>
                  <a:cubicBezTo>
                    <a:pt x="258" y="27"/>
                    <a:pt x="258" y="43"/>
                    <a:pt x="258" y="69"/>
                  </a:cubicBezTo>
                  <a:cubicBezTo>
                    <a:pt x="258" y="73"/>
                    <a:pt x="262" y="77"/>
                    <a:pt x="266" y="77"/>
                  </a:cubicBezTo>
                  <a:cubicBezTo>
                    <a:pt x="271" y="77"/>
                    <a:pt x="274" y="73"/>
                    <a:pt x="274" y="69"/>
                  </a:cubicBezTo>
                  <a:cubicBezTo>
                    <a:pt x="274" y="69"/>
                    <a:pt x="274" y="69"/>
                    <a:pt x="274" y="69"/>
                  </a:cubicBezTo>
                  <a:cubicBezTo>
                    <a:pt x="274" y="43"/>
                    <a:pt x="274" y="27"/>
                    <a:pt x="274" y="25"/>
                  </a:cubicBezTo>
                  <a:cubicBezTo>
                    <a:pt x="274" y="17"/>
                    <a:pt x="269" y="12"/>
                    <a:pt x="265" y="9"/>
                  </a:cubicBezTo>
                  <a:cubicBezTo>
                    <a:pt x="261" y="7"/>
                    <a:pt x="257" y="6"/>
                    <a:pt x="257" y="6"/>
                  </a:cubicBezTo>
                  <a:cubicBezTo>
                    <a:pt x="256" y="6"/>
                    <a:pt x="256" y="6"/>
                    <a:pt x="256" y="6"/>
                  </a:cubicBezTo>
                  <a:cubicBezTo>
                    <a:pt x="256" y="6"/>
                    <a:pt x="190" y="0"/>
                    <a:pt x="137" y="0"/>
                  </a:cubicBezTo>
                  <a:cubicBezTo>
                    <a:pt x="84" y="0"/>
                    <a:pt x="19" y="6"/>
                    <a:pt x="18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3" y="7"/>
                    <a:pt x="9" y="9"/>
                  </a:cubicBezTo>
                  <a:cubicBezTo>
                    <a:pt x="5" y="12"/>
                    <a:pt x="0" y="17"/>
                    <a:pt x="0" y="25"/>
                  </a:cubicBezTo>
                  <a:cubicBezTo>
                    <a:pt x="0" y="34"/>
                    <a:pt x="0" y="463"/>
                    <a:pt x="0" y="477"/>
                  </a:cubicBezTo>
                  <a:cubicBezTo>
                    <a:pt x="0" y="488"/>
                    <a:pt x="6" y="495"/>
                    <a:pt x="12" y="498"/>
                  </a:cubicBezTo>
                  <a:cubicBezTo>
                    <a:pt x="17" y="500"/>
                    <a:pt x="22" y="501"/>
                    <a:pt x="23" y="501"/>
                  </a:cubicBezTo>
                  <a:cubicBezTo>
                    <a:pt x="23" y="501"/>
                    <a:pt x="76" y="502"/>
                    <a:pt x="137" y="503"/>
                  </a:cubicBezTo>
                  <a:cubicBezTo>
                    <a:pt x="198" y="502"/>
                    <a:pt x="251" y="501"/>
                    <a:pt x="251" y="501"/>
                  </a:cubicBezTo>
                  <a:cubicBezTo>
                    <a:pt x="252" y="501"/>
                    <a:pt x="257" y="500"/>
                    <a:pt x="262" y="498"/>
                  </a:cubicBezTo>
                  <a:cubicBezTo>
                    <a:pt x="268" y="495"/>
                    <a:pt x="275" y="488"/>
                    <a:pt x="274" y="477"/>
                  </a:cubicBezTo>
                  <a:cubicBezTo>
                    <a:pt x="274" y="467"/>
                    <a:pt x="274" y="234"/>
                    <a:pt x="274" y="107"/>
                  </a:cubicBezTo>
                  <a:cubicBezTo>
                    <a:pt x="274" y="102"/>
                    <a:pt x="271" y="99"/>
                    <a:pt x="266" y="99"/>
                  </a:cubicBezTo>
                  <a:close/>
                  <a:moveTo>
                    <a:pt x="137" y="16"/>
                  </a:moveTo>
                  <a:cubicBezTo>
                    <a:pt x="147" y="16"/>
                    <a:pt x="157" y="17"/>
                    <a:pt x="167" y="17"/>
                  </a:cubicBezTo>
                  <a:cubicBezTo>
                    <a:pt x="160" y="22"/>
                    <a:pt x="150" y="27"/>
                    <a:pt x="137" y="27"/>
                  </a:cubicBezTo>
                  <a:cubicBezTo>
                    <a:pt x="124" y="27"/>
                    <a:pt x="114" y="22"/>
                    <a:pt x="107" y="17"/>
                  </a:cubicBezTo>
                  <a:cubicBezTo>
                    <a:pt x="117" y="17"/>
                    <a:pt x="128" y="16"/>
                    <a:pt x="137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1436" tIns="45718" rIns="91436" bIns="45718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endParaRPr>
            </a:p>
          </p:txBody>
        </p:sp>
        <p:grpSp>
          <p:nvGrpSpPr>
            <p:cNvPr id="117" name="Group 116">
              <a:extLst>
                <a:ext uri="{FF2B5EF4-FFF2-40B4-BE49-F238E27FC236}">
                  <a16:creationId xmlns="" xmlns:a16="http://schemas.microsoft.com/office/drawing/2014/main" id="{47C19CE0-07A3-4216-AD6D-124CED07A6C8}"/>
                </a:ext>
              </a:extLst>
            </p:cNvPr>
            <p:cNvGrpSpPr/>
            <p:nvPr/>
          </p:nvGrpSpPr>
          <p:grpSpPr>
            <a:xfrm>
              <a:off x="3935734" y="5160768"/>
              <a:ext cx="719504" cy="720244"/>
              <a:chOff x="1416218" y="3026031"/>
              <a:chExt cx="719504" cy="720244"/>
            </a:xfrm>
          </p:grpSpPr>
          <p:sp>
            <p:nvSpPr>
              <p:cNvPr id="118" name="Rounded Rectangle 103">
                <a:extLst>
                  <a:ext uri="{FF2B5EF4-FFF2-40B4-BE49-F238E27FC236}">
                    <a16:creationId xmlns="" xmlns:a16="http://schemas.microsoft.com/office/drawing/2014/main" id="{877781A2-C2A4-4B92-A728-50F03F7098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6218" y="3026031"/>
                <a:ext cx="719504" cy="720244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20000"/>
                </a:schemeClr>
              </a:solidFill>
              <a:ln w="2540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71988" tIns="45718" rIns="71988" bIns="45718"/>
              <a:lstStyle>
                <a:lvl1pPr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Ericsson Sans Medium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19" name="Group 6">
                <a:extLst>
                  <a:ext uri="{FF2B5EF4-FFF2-40B4-BE49-F238E27FC236}">
                    <a16:creationId xmlns="" xmlns:a16="http://schemas.microsoft.com/office/drawing/2014/main" id="{6B437493-6BEB-4911-902B-273D02CF35CD}"/>
                  </a:ext>
                </a:extLst>
              </p:cNvPr>
              <p:cNvGrpSpPr>
                <a:grpSpLocks/>
              </p:cNvGrpSpPr>
              <p:nvPr>
                <p:custDataLst>
                  <p:tags r:id="rId19"/>
                </p:custDataLst>
              </p:nvPr>
            </p:nvGrpSpPr>
            <p:grpSpPr bwMode="auto">
              <a:xfrm>
                <a:off x="1583832" y="3236128"/>
                <a:ext cx="410134" cy="336678"/>
                <a:chOff x="1250592" y="5365091"/>
                <a:chExt cx="1706563" cy="1566862"/>
              </a:xfrm>
              <a:solidFill>
                <a:srgbClr val="FFFFFF"/>
              </a:solidFill>
            </p:grpSpPr>
            <p:sp>
              <p:nvSpPr>
                <p:cNvPr id="120" name="Freeform 3">
                  <a:extLst>
                    <a:ext uri="{FF2B5EF4-FFF2-40B4-BE49-F238E27FC236}">
                      <a16:creationId xmlns="" xmlns:a16="http://schemas.microsoft.com/office/drawing/2014/main" id="{1C168340-EF98-4B4B-9B45-1175A027FE74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1773747" y="5646014"/>
                  <a:ext cx="635162" cy="579057"/>
                </a:xfrm>
                <a:custGeom>
                  <a:avLst/>
                  <a:gdLst>
                    <a:gd name="T0" fmla="*/ 2147483647 w 418"/>
                    <a:gd name="T1" fmla="*/ 2147483647 h 333"/>
                    <a:gd name="T2" fmla="*/ 2147483647 w 418"/>
                    <a:gd name="T3" fmla="*/ 2147483647 h 333"/>
                    <a:gd name="T4" fmla="*/ 2147483647 w 418"/>
                    <a:gd name="T5" fmla="*/ 2147483647 h 333"/>
                    <a:gd name="T6" fmla="*/ 2147483647 w 418"/>
                    <a:gd name="T7" fmla="*/ 2147483647 h 333"/>
                    <a:gd name="T8" fmla="*/ 2147483647 w 418"/>
                    <a:gd name="T9" fmla="*/ 0 h 333"/>
                    <a:gd name="T10" fmla="*/ 0 w 418"/>
                    <a:gd name="T11" fmla="*/ 2147483647 h 333"/>
                    <a:gd name="T12" fmla="*/ 2147483647 w 418"/>
                    <a:gd name="T13" fmla="*/ 2147483647 h 333"/>
                    <a:gd name="T14" fmla="*/ 2147483647 w 418"/>
                    <a:gd name="T15" fmla="*/ 2147483647 h 333"/>
                    <a:gd name="T16" fmla="*/ 2147483647 w 418"/>
                    <a:gd name="T17" fmla="*/ 2147483647 h 333"/>
                    <a:gd name="T18" fmla="*/ 2147483647 w 418"/>
                    <a:gd name="T19" fmla="*/ 2147483647 h 333"/>
                    <a:gd name="T20" fmla="*/ 2147483647 w 418"/>
                    <a:gd name="T21" fmla="*/ 2147483647 h 333"/>
                    <a:gd name="T22" fmla="*/ 2147483647 w 418"/>
                    <a:gd name="T23" fmla="*/ 2147483647 h 333"/>
                    <a:gd name="T24" fmla="*/ 2147483647 w 418"/>
                    <a:gd name="T25" fmla="*/ 2147483647 h 333"/>
                    <a:gd name="T26" fmla="*/ 2147483647 w 418"/>
                    <a:gd name="T27" fmla="*/ 2147483647 h 333"/>
                    <a:gd name="T28" fmla="*/ 2147483647 w 418"/>
                    <a:gd name="T29" fmla="*/ 2147483647 h 333"/>
                    <a:gd name="T30" fmla="*/ 2147483647 w 418"/>
                    <a:gd name="T31" fmla="*/ 2147483647 h 333"/>
                    <a:gd name="T32" fmla="*/ 2147483647 w 418"/>
                    <a:gd name="T33" fmla="*/ 2147483647 h 333"/>
                    <a:gd name="T34" fmla="*/ 2147483647 w 418"/>
                    <a:gd name="T35" fmla="*/ 2147483647 h 333"/>
                    <a:gd name="T36" fmla="*/ 2147483647 w 418"/>
                    <a:gd name="T37" fmla="*/ 2147483647 h 333"/>
                    <a:gd name="T38" fmla="*/ 2147483647 w 418"/>
                    <a:gd name="T39" fmla="*/ 2147483647 h 333"/>
                    <a:gd name="T40" fmla="*/ 2147483647 w 418"/>
                    <a:gd name="T41" fmla="*/ 2147483647 h 333"/>
                    <a:gd name="T42" fmla="*/ 2147483647 w 418"/>
                    <a:gd name="T43" fmla="*/ 2147483647 h 333"/>
                    <a:gd name="T44" fmla="*/ 2147483647 w 418"/>
                    <a:gd name="T45" fmla="*/ 2147483647 h 333"/>
                    <a:gd name="T46" fmla="*/ 2147483647 w 418"/>
                    <a:gd name="T47" fmla="*/ 2147483647 h 333"/>
                    <a:gd name="T48" fmla="*/ 2147483647 w 418"/>
                    <a:gd name="T49" fmla="*/ 2147483647 h 333"/>
                    <a:gd name="T50" fmla="*/ 2147483647 w 418"/>
                    <a:gd name="T51" fmla="*/ 2147483647 h 333"/>
                    <a:gd name="T52" fmla="*/ 2147483647 w 418"/>
                    <a:gd name="T53" fmla="*/ 2147483647 h 333"/>
                    <a:gd name="T54" fmla="*/ 2147483647 w 418"/>
                    <a:gd name="T55" fmla="*/ 2147483647 h 333"/>
                    <a:gd name="T56" fmla="*/ 2147483647 w 418"/>
                    <a:gd name="T57" fmla="*/ 2147483647 h 333"/>
                    <a:gd name="T58" fmla="*/ 2147483647 w 418"/>
                    <a:gd name="T59" fmla="*/ 2147483647 h 333"/>
                    <a:gd name="T60" fmla="*/ 2147483647 w 418"/>
                    <a:gd name="T61" fmla="*/ 2147483647 h 333"/>
                    <a:gd name="T62" fmla="*/ 2147483647 w 418"/>
                    <a:gd name="T63" fmla="*/ 2147483647 h 333"/>
                    <a:gd name="T64" fmla="*/ 2147483647 w 418"/>
                    <a:gd name="T65" fmla="*/ 2147483647 h 333"/>
                    <a:gd name="T66" fmla="*/ 2147483647 w 418"/>
                    <a:gd name="T67" fmla="*/ 2147483647 h 333"/>
                    <a:gd name="T68" fmla="*/ 2147483647 w 418"/>
                    <a:gd name="T69" fmla="*/ 2147483647 h 333"/>
                    <a:gd name="T70" fmla="*/ 2147483647 w 418"/>
                    <a:gd name="T71" fmla="*/ 2147483647 h 333"/>
                    <a:gd name="T72" fmla="*/ 2147483647 w 418"/>
                    <a:gd name="T73" fmla="*/ 2147483647 h 333"/>
                    <a:gd name="T74" fmla="*/ 2147483647 w 418"/>
                    <a:gd name="T75" fmla="*/ 2147483647 h 333"/>
                    <a:gd name="T76" fmla="*/ 2147483647 w 418"/>
                    <a:gd name="T77" fmla="*/ 2147483647 h 333"/>
                    <a:gd name="T78" fmla="*/ 2147483647 w 418"/>
                    <a:gd name="T79" fmla="*/ 2147483647 h 333"/>
                    <a:gd name="T80" fmla="*/ 2147483647 w 418"/>
                    <a:gd name="T81" fmla="*/ 2147483647 h 333"/>
                    <a:gd name="T82" fmla="*/ 2147483647 w 418"/>
                    <a:gd name="T83" fmla="*/ 2147483647 h 333"/>
                    <a:gd name="T84" fmla="*/ 2147483647 w 418"/>
                    <a:gd name="T85" fmla="*/ 2147483647 h 333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418"/>
                    <a:gd name="T130" fmla="*/ 0 h 333"/>
                    <a:gd name="T131" fmla="*/ 418 w 418"/>
                    <a:gd name="T132" fmla="*/ 333 h 333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418" h="333">
                      <a:moveTo>
                        <a:pt x="410" y="124"/>
                      </a:moveTo>
                      <a:cubicBezTo>
                        <a:pt x="406" y="124"/>
                        <a:pt x="402" y="128"/>
                        <a:pt x="402" y="132"/>
                      </a:cubicBezTo>
                      <a:cubicBezTo>
                        <a:pt x="402" y="138"/>
                        <a:pt x="402" y="145"/>
                        <a:pt x="402" y="152"/>
                      </a:cubicBezTo>
                      <a:cubicBezTo>
                        <a:pt x="402" y="152"/>
                        <a:pt x="402" y="152"/>
                        <a:pt x="402" y="152"/>
                      </a:cubicBezTo>
                      <a:cubicBezTo>
                        <a:pt x="402" y="264"/>
                        <a:pt x="402" y="264"/>
                        <a:pt x="402" y="264"/>
                      </a:cubicBezTo>
                      <a:cubicBezTo>
                        <a:pt x="16" y="264"/>
                        <a:pt x="16" y="264"/>
                        <a:pt x="16" y="264"/>
                      </a:cubicBezTo>
                      <a:cubicBezTo>
                        <a:pt x="16" y="69"/>
                        <a:pt x="16" y="69"/>
                        <a:pt x="16" y="69"/>
                      </a:cubicBezTo>
                      <a:cubicBezTo>
                        <a:pt x="402" y="69"/>
                        <a:pt x="402" y="69"/>
                        <a:pt x="402" y="69"/>
                      </a:cubicBezTo>
                      <a:cubicBezTo>
                        <a:pt x="402" y="90"/>
                        <a:pt x="402" y="90"/>
                        <a:pt x="402" y="90"/>
                      </a:cubicBezTo>
                      <a:cubicBezTo>
                        <a:pt x="402" y="90"/>
                        <a:pt x="402" y="90"/>
                        <a:pt x="402" y="90"/>
                      </a:cubicBezTo>
                      <a:cubicBezTo>
                        <a:pt x="402" y="93"/>
                        <a:pt x="402" y="93"/>
                        <a:pt x="402" y="93"/>
                      </a:cubicBezTo>
                      <a:cubicBezTo>
                        <a:pt x="402" y="98"/>
                        <a:pt x="406" y="101"/>
                        <a:pt x="410" y="101"/>
                      </a:cubicBezTo>
                      <a:cubicBezTo>
                        <a:pt x="415" y="101"/>
                        <a:pt x="418" y="98"/>
                        <a:pt x="418" y="93"/>
                      </a:cubicBezTo>
                      <a:cubicBezTo>
                        <a:pt x="418" y="31"/>
                        <a:pt x="418" y="31"/>
                        <a:pt x="418" y="31"/>
                      </a:cubicBezTo>
                      <a:cubicBezTo>
                        <a:pt x="418" y="14"/>
                        <a:pt x="405" y="0"/>
                        <a:pt x="388" y="0"/>
                      </a:cubicBez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14" y="0"/>
                        <a:pt x="0" y="14"/>
                        <a:pt x="0" y="31"/>
                      </a:cubicBezTo>
                      <a:cubicBezTo>
                        <a:pt x="0" y="302"/>
                        <a:pt x="0" y="302"/>
                        <a:pt x="0" y="302"/>
                      </a:cubicBezTo>
                      <a:cubicBezTo>
                        <a:pt x="0" y="319"/>
                        <a:pt x="14" y="333"/>
                        <a:pt x="31" y="333"/>
                      </a:cubicBezTo>
                      <a:cubicBezTo>
                        <a:pt x="388" y="333"/>
                        <a:pt x="388" y="333"/>
                        <a:pt x="388" y="333"/>
                      </a:cubicBezTo>
                      <a:cubicBezTo>
                        <a:pt x="405" y="333"/>
                        <a:pt x="418" y="319"/>
                        <a:pt x="418" y="302"/>
                      </a:cubicBezTo>
                      <a:cubicBezTo>
                        <a:pt x="418" y="302"/>
                        <a:pt x="418" y="190"/>
                        <a:pt x="418" y="132"/>
                      </a:cubicBezTo>
                      <a:cubicBezTo>
                        <a:pt x="418" y="128"/>
                        <a:pt x="415" y="124"/>
                        <a:pt x="410" y="124"/>
                      </a:cubicBezTo>
                      <a:close/>
                      <a:moveTo>
                        <a:pt x="65" y="41"/>
                      </a:moveTo>
                      <a:cubicBezTo>
                        <a:pt x="65" y="47"/>
                        <a:pt x="60" y="53"/>
                        <a:pt x="54" y="53"/>
                      </a:cubicBezTo>
                      <a:cubicBezTo>
                        <a:pt x="28" y="53"/>
                        <a:pt x="28" y="53"/>
                        <a:pt x="28" y="53"/>
                      </a:cubicBezTo>
                      <a:cubicBezTo>
                        <a:pt x="22" y="53"/>
                        <a:pt x="16" y="47"/>
                        <a:pt x="16" y="41"/>
                      </a:cubicBezTo>
                      <a:cubicBezTo>
                        <a:pt x="16" y="28"/>
                        <a:pt x="16" y="28"/>
                        <a:pt x="16" y="28"/>
                      </a:cubicBezTo>
                      <a:cubicBezTo>
                        <a:pt x="16" y="21"/>
                        <a:pt x="22" y="16"/>
                        <a:pt x="28" y="16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60" y="16"/>
                        <a:pt x="65" y="21"/>
                        <a:pt x="65" y="28"/>
                      </a:cubicBezTo>
                      <a:lnTo>
                        <a:pt x="65" y="41"/>
                      </a:lnTo>
                      <a:close/>
                      <a:moveTo>
                        <a:pt x="133" y="41"/>
                      </a:moveTo>
                      <a:cubicBezTo>
                        <a:pt x="133" y="47"/>
                        <a:pt x="128" y="53"/>
                        <a:pt x="121" y="53"/>
                      </a:cubicBezTo>
                      <a:cubicBezTo>
                        <a:pt x="95" y="53"/>
                        <a:pt x="95" y="53"/>
                        <a:pt x="95" y="53"/>
                      </a:cubicBezTo>
                      <a:cubicBezTo>
                        <a:pt x="89" y="53"/>
                        <a:pt x="84" y="47"/>
                        <a:pt x="84" y="41"/>
                      </a:cubicBezTo>
                      <a:cubicBezTo>
                        <a:pt x="84" y="28"/>
                        <a:pt x="84" y="28"/>
                        <a:pt x="84" y="28"/>
                      </a:cubicBezTo>
                      <a:cubicBezTo>
                        <a:pt x="84" y="21"/>
                        <a:pt x="89" y="16"/>
                        <a:pt x="95" y="16"/>
                      </a:cubicBezTo>
                      <a:cubicBezTo>
                        <a:pt x="121" y="16"/>
                        <a:pt x="121" y="16"/>
                        <a:pt x="121" y="16"/>
                      </a:cubicBezTo>
                      <a:cubicBezTo>
                        <a:pt x="128" y="16"/>
                        <a:pt x="133" y="21"/>
                        <a:pt x="133" y="28"/>
                      </a:cubicBezTo>
                      <a:lnTo>
                        <a:pt x="133" y="41"/>
                      </a:lnTo>
                      <a:close/>
                      <a:moveTo>
                        <a:pt x="200" y="41"/>
                      </a:moveTo>
                      <a:cubicBezTo>
                        <a:pt x="200" y="47"/>
                        <a:pt x="195" y="53"/>
                        <a:pt x="188" y="53"/>
                      </a:cubicBezTo>
                      <a:cubicBezTo>
                        <a:pt x="162" y="53"/>
                        <a:pt x="162" y="53"/>
                        <a:pt x="162" y="53"/>
                      </a:cubicBezTo>
                      <a:cubicBezTo>
                        <a:pt x="156" y="53"/>
                        <a:pt x="151" y="47"/>
                        <a:pt x="151" y="41"/>
                      </a:cubicBezTo>
                      <a:cubicBezTo>
                        <a:pt x="151" y="28"/>
                        <a:pt x="151" y="28"/>
                        <a:pt x="151" y="28"/>
                      </a:cubicBezTo>
                      <a:cubicBezTo>
                        <a:pt x="151" y="21"/>
                        <a:pt x="156" y="16"/>
                        <a:pt x="162" y="16"/>
                      </a:cubicBezTo>
                      <a:cubicBezTo>
                        <a:pt x="188" y="16"/>
                        <a:pt x="188" y="16"/>
                        <a:pt x="188" y="16"/>
                      </a:cubicBezTo>
                      <a:cubicBezTo>
                        <a:pt x="195" y="16"/>
                        <a:pt x="200" y="21"/>
                        <a:pt x="200" y="28"/>
                      </a:cubicBezTo>
                      <a:lnTo>
                        <a:pt x="200" y="41"/>
                      </a:lnTo>
                      <a:close/>
                      <a:moveTo>
                        <a:pt x="267" y="41"/>
                      </a:moveTo>
                      <a:cubicBezTo>
                        <a:pt x="267" y="47"/>
                        <a:pt x="262" y="53"/>
                        <a:pt x="256" y="53"/>
                      </a:cubicBezTo>
                      <a:cubicBezTo>
                        <a:pt x="230" y="53"/>
                        <a:pt x="230" y="53"/>
                        <a:pt x="230" y="53"/>
                      </a:cubicBezTo>
                      <a:cubicBezTo>
                        <a:pt x="223" y="53"/>
                        <a:pt x="218" y="47"/>
                        <a:pt x="218" y="41"/>
                      </a:cubicBezTo>
                      <a:cubicBezTo>
                        <a:pt x="218" y="28"/>
                        <a:pt x="218" y="28"/>
                        <a:pt x="218" y="28"/>
                      </a:cubicBezTo>
                      <a:cubicBezTo>
                        <a:pt x="218" y="21"/>
                        <a:pt x="223" y="16"/>
                        <a:pt x="230" y="16"/>
                      </a:cubicBezTo>
                      <a:cubicBezTo>
                        <a:pt x="256" y="16"/>
                        <a:pt x="256" y="16"/>
                        <a:pt x="256" y="16"/>
                      </a:cubicBezTo>
                      <a:cubicBezTo>
                        <a:pt x="262" y="16"/>
                        <a:pt x="267" y="21"/>
                        <a:pt x="267" y="28"/>
                      </a:cubicBezTo>
                      <a:lnTo>
                        <a:pt x="267" y="41"/>
                      </a:lnTo>
                      <a:close/>
                      <a:moveTo>
                        <a:pt x="334" y="41"/>
                      </a:moveTo>
                      <a:cubicBezTo>
                        <a:pt x="334" y="47"/>
                        <a:pt x="329" y="53"/>
                        <a:pt x="323" y="53"/>
                      </a:cubicBezTo>
                      <a:cubicBezTo>
                        <a:pt x="297" y="53"/>
                        <a:pt x="297" y="53"/>
                        <a:pt x="297" y="53"/>
                      </a:cubicBezTo>
                      <a:cubicBezTo>
                        <a:pt x="291" y="53"/>
                        <a:pt x="285" y="47"/>
                        <a:pt x="285" y="41"/>
                      </a:cubicBezTo>
                      <a:cubicBezTo>
                        <a:pt x="285" y="28"/>
                        <a:pt x="285" y="28"/>
                        <a:pt x="285" y="28"/>
                      </a:cubicBezTo>
                      <a:cubicBezTo>
                        <a:pt x="285" y="21"/>
                        <a:pt x="291" y="16"/>
                        <a:pt x="297" y="16"/>
                      </a:cubicBezTo>
                      <a:cubicBezTo>
                        <a:pt x="323" y="16"/>
                        <a:pt x="323" y="16"/>
                        <a:pt x="323" y="16"/>
                      </a:cubicBezTo>
                      <a:cubicBezTo>
                        <a:pt x="329" y="16"/>
                        <a:pt x="334" y="21"/>
                        <a:pt x="334" y="28"/>
                      </a:cubicBezTo>
                      <a:lnTo>
                        <a:pt x="334" y="41"/>
                      </a:lnTo>
                      <a:close/>
                      <a:moveTo>
                        <a:pt x="402" y="41"/>
                      </a:moveTo>
                      <a:cubicBezTo>
                        <a:pt x="402" y="47"/>
                        <a:pt x="397" y="53"/>
                        <a:pt x="390" y="53"/>
                      </a:cubicBezTo>
                      <a:cubicBezTo>
                        <a:pt x="364" y="53"/>
                        <a:pt x="364" y="53"/>
                        <a:pt x="364" y="53"/>
                      </a:cubicBezTo>
                      <a:cubicBezTo>
                        <a:pt x="358" y="53"/>
                        <a:pt x="353" y="47"/>
                        <a:pt x="353" y="41"/>
                      </a:cubicBezTo>
                      <a:cubicBezTo>
                        <a:pt x="353" y="28"/>
                        <a:pt x="353" y="28"/>
                        <a:pt x="353" y="28"/>
                      </a:cubicBezTo>
                      <a:cubicBezTo>
                        <a:pt x="353" y="21"/>
                        <a:pt x="358" y="16"/>
                        <a:pt x="364" y="16"/>
                      </a:cubicBezTo>
                      <a:cubicBezTo>
                        <a:pt x="390" y="16"/>
                        <a:pt x="390" y="16"/>
                        <a:pt x="390" y="16"/>
                      </a:cubicBezTo>
                      <a:cubicBezTo>
                        <a:pt x="397" y="16"/>
                        <a:pt x="402" y="21"/>
                        <a:pt x="402" y="28"/>
                      </a:cubicBezTo>
                      <a:lnTo>
                        <a:pt x="402" y="41"/>
                      </a:lnTo>
                      <a:close/>
                      <a:moveTo>
                        <a:pt x="353" y="292"/>
                      </a:moveTo>
                      <a:cubicBezTo>
                        <a:pt x="353" y="285"/>
                        <a:pt x="358" y="280"/>
                        <a:pt x="365" y="280"/>
                      </a:cubicBezTo>
                      <a:cubicBezTo>
                        <a:pt x="390" y="280"/>
                        <a:pt x="390" y="280"/>
                        <a:pt x="390" y="280"/>
                      </a:cubicBezTo>
                      <a:cubicBezTo>
                        <a:pt x="397" y="280"/>
                        <a:pt x="402" y="285"/>
                        <a:pt x="402" y="292"/>
                      </a:cubicBezTo>
                      <a:cubicBezTo>
                        <a:pt x="402" y="305"/>
                        <a:pt x="402" y="305"/>
                        <a:pt x="402" y="305"/>
                      </a:cubicBezTo>
                      <a:cubicBezTo>
                        <a:pt x="402" y="311"/>
                        <a:pt x="397" y="316"/>
                        <a:pt x="390" y="316"/>
                      </a:cubicBezTo>
                      <a:cubicBezTo>
                        <a:pt x="365" y="316"/>
                        <a:pt x="365" y="316"/>
                        <a:pt x="365" y="316"/>
                      </a:cubicBezTo>
                      <a:cubicBezTo>
                        <a:pt x="358" y="316"/>
                        <a:pt x="353" y="311"/>
                        <a:pt x="353" y="305"/>
                      </a:cubicBezTo>
                      <a:lnTo>
                        <a:pt x="353" y="292"/>
                      </a:lnTo>
                      <a:close/>
                      <a:moveTo>
                        <a:pt x="286" y="292"/>
                      </a:moveTo>
                      <a:cubicBezTo>
                        <a:pt x="286" y="285"/>
                        <a:pt x="291" y="280"/>
                        <a:pt x="297" y="280"/>
                      </a:cubicBezTo>
                      <a:cubicBezTo>
                        <a:pt x="323" y="280"/>
                        <a:pt x="323" y="280"/>
                        <a:pt x="323" y="280"/>
                      </a:cubicBezTo>
                      <a:cubicBezTo>
                        <a:pt x="330" y="280"/>
                        <a:pt x="335" y="285"/>
                        <a:pt x="335" y="292"/>
                      </a:cubicBezTo>
                      <a:cubicBezTo>
                        <a:pt x="335" y="305"/>
                        <a:pt x="335" y="305"/>
                        <a:pt x="335" y="305"/>
                      </a:cubicBezTo>
                      <a:cubicBezTo>
                        <a:pt x="335" y="311"/>
                        <a:pt x="330" y="316"/>
                        <a:pt x="323" y="316"/>
                      </a:cubicBezTo>
                      <a:cubicBezTo>
                        <a:pt x="297" y="316"/>
                        <a:pt x="297" y="316"/>
                        <a:pt x="297" y="316"/>
                      </a:cubicBezTo>
                      <a:cubicBezTo>
                        <a:pt x="291" y="316"/>
                        <a:pt x="286" y="311"/>
                        <a:pt x="286" y="305"/>
                      </a:cubicBezTo>
                      <a:lnTo>
                        <a:pt x="286" y="292"/>
                      </a:lnTo>
                      <a:close/>
                      <a:moveTo>
                        <a:pt x="218" y="292"/>
                      </a:moveTo>
                      <a:cubicBezTo>
                        <a:pt x="218" y="285"/>
                        <a:pt x="224" y="280"/>
                        <a:pt x="230" y="280"/>
                      </a:cubicBezTo>
                      <a:cubicBezTo>
                        <a:pt x="256" y="280"/>
                        <a:pt x="256" y="280"/>
                        <a:pt x="256" y="280"/>
                      </a:cubicBezTo>
                      <a:cubicBezTo>
                        <a:pt x="262" y="280"/>
                        <a:pt x="268" y="285"/>
                        <a:pt x="268" y="292"/>
                      </a:cubicBezTo>
                      <a:cubicBezTo>
                        <a:pt x="268" y="305"/>
                        <a:pt x="268" y="305"/>
                        <a:pt x="268" y="305"/>
                      </a:cubicBezTo>
                      <a:cubicBezTo>
                        <a:pt x="268" y="311"/>
                        <a:pt x="262" y="316"/>
                        <a:pt x="256" y="316"/>
                      </a:cubicBezTo>
                      <a:cubicBezTo>
                        <a:pt x="230" y="316"/>
                        <a:pt x="230" y="316"/>
                        <a:pt x="230" y="316"/>
                      </a:cubicBezTo>
                      <a:cubicBezTo>
                        <a:pt x="224" y="316"/>
                        <a:pt x="218" y="311"/>
                        <a:pt x="218" y="305"/>
                      </a:cubicBezTo>
                      <a:lnTo>
                        <a:pt x="218" y="292"/>
                      </a:lnTo>
                      <a:close/>
                      <a:moveTo>
                        <a:pt x="151" y="292"/>
                      </a:moveTo>
                      <a:cubicBezTo>
                        <a:pt x="151" y="285"/>
                        <a:pt x="156" y="280"/>
                        <a:pt x="163" y="280"/>
                      </a:cubicBezTo>
                      <a:cubicBezTo>
                        <a:pt x="189" y="280"/>
                        <a:pt x="189" y="280"/>
                        <a:pt x="189" y="280"/>
                      </a:cubicBezTo>
                      <a:cubicBezTo>
                        <a:pt x="195" y="280"/>
                        <a:pt x="200" y="285"/>
                        <a:pt x="200" y="292"/>
                      </a:cubicBezTo>
                      <a:cubicBezTo>
                        <a:pt x="200" y="305"/>
                        <a:pt x="200" y="305"/>
                        <a:pt x="200" y="305"/>
                      </a:cubicBezTo>
                      <a:cubicBezTo>
                        <a:pt x="200" y="311"/>
                        <a:pt x="195" y="316"/>
                        <a:pt x="189" y="316"/>
                      </a:cubicBezTo>
                      <a:cubicBezTo>
                        <a:pt x="163" y="316"/>
                        <a:pt x="163" y="316"/>
                        <a:pt x="163" y="316"/>
                      </a:cubicBezTo>
                      <a:cubicBezTo>
                        <a:pt x="156" y="316"/>
                        <a:pt x="151" y="311"/>
                        <a:pt x="151" y="305"/>
                      </a:cubicBezTo>
                      <a:lnTo>
                        <a:pt x="151" y="292"/>
                      </a:lnTo>
                      <a:close/>
                      <a:moveTo>
                        <a:pt x="84" y="292"/>
                      </a:moveTo>
                      <a:cubicBezTo>
                        <a:pt x="84" y="285"/>
                        <a:pt x="89" y="280"/>
                        <a:pt x="95" y="280"/>
                      </a:cubicBezTo>
                      <a:cubicBezTo>
                        <a:pt x="121" y="280"/>
                        <a:pt x="121" y="280"/>
                        <a:pt x="121" y="280"/>
                      </a:cubicBezTo>
                      <a:cubicBezTo>
                        <a:pt x="128" y="280"/>
                        <a:pt x="133" y="285"/>
                        <a:pt x="133" y="292"/>
                      </a:cubicBezTo>
                      <a:cubicBezTo>
                        <a:pt x="133" y="305"/>
                        <a:pt x="133" y="305"/>
                        <a:pt x="133" y="305"/>
                      </a:cubicBezTo>
                      <a:cubicBezTo>
                        <a:pt x="133" y="311"/>
                        <a:pt x="128" y="316"/>
                        <a:pt x="121" y="316"/>
                      </a:cubicBezTo>
                      <a:cubicBezTo>
                        <a:pt x="95" y="316"/>
                        <a:pt x="95" y="316"/>
                        <a:pt x="95" y="316"/>
                      </a:cubicBezTo>
                      <a:cubicBezTo>
                        <a:pt x="89" y="316"/>
                        <a:pt x="84" y="311"/>
                        <a:pt x="84" y="305"/>
                      </a:cubicBezTo>
                      <a:lnTo>
                        <a:pt x="84" y="292"/>
                      </a:lnTo>
                      <a:close/>
                      <a:moveTo>
                        <a:pt x="17" y="292"/>
                      </a:moveTo>
                      <a:cubicBezTo>
                        <a:pt x="17" y="285"/>
                        <a:pt x="22" y="280"/>
                        <a:pt x="28" y="280"/>
                      </a:cubicBezTo>
                      <a:cubicBezTo>
                        <a:pt x="54" y="280"/>
                        <a:pt x="54" y="280"/>
                        <a:pt x="54" y="280"/>
                      </a:cubicBezTo>
                      <a:cubicBezTo>
                        <a:pt x="61" y="280"/>
                        <a:pt x="66" y="285"/>
                        <a:pt x="66" y="292"/>
                      </a:cubicBezTo>
                      <a:cubicBezTo>
                        <a:pt x="66" y="305"/>
                        <a:pt x="66" y="305"/>
                        <a:pt x="66" y="305"/>
                      </a:cubicBezTo>
                      <a:cubicBezTo>
                        <a:pt x="66" y="311"/>
                        <a:pt x="61" y="316"/>
                        <a:pt x="54" y="316"/>
                      </a:cubicBezTo>
                      <a:cubicBezTo>
                        <a:pt x="28" y="316"/>
                        <a:pt x="28" y="316"/>
                        <a:pt x="28" y="316"/>
                      </a:cubicBezTo>
                      <a:cubicBezTo>
                        <a:pt x="22" y="316"/>
                        <a:pt x="17" y="311"/>
                        <a:pt x="17" y="305"/>
                      </a:cubicBezTo>
                      <a:lnTo>
                        <a:pt x="17" y="29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8585A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1" name="Freeform 3">
                  <a:extLst>
                    <a:ext uri="{FF2B5EF4-FFF2-40B4-BE49-F238E27FC236}">
                      <a16:creationId xmlns="" xmlns:a16="http://schemas.microsoft.com/office/drawing/2014/main" id="{0A908D6C-E500-486F-A4B9-E5AFE074E90A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1250592" y="5365091"/>
                  <a:ext cx="1706563" cy="1566862"/>
                </a:xfrm>
                <a:custGeom>
                  <a:avLst/>
                  <a:gdLst>
                    <a:gd name="T0" fmla="*/ 2147483647 w 455"/>
                    <a:gd name="T1" fmla="*/ 2147483647 h 418"/>
                    <a:gd name="T2" fmla="*/ 2147483647 w 455"/>
                    <a:gd name="T3" fmla="*/ 2147483647 h 418"/>
                    <a:gd name="T4" fmla="*/ 2147483647 w 455"/>
                    <a:gd name="T5" fmla="*/ 2147483647 h 418"/>
                    <a:gd name="T6" fmla="*/ 2147483647 w 455"/>
                    <a:gd name="T7" fmla="*/ 2147483647 h 418"/>
                    <a:gd name="T8" fmla="*/ 2147483647 w 455"/>
                    <a:gd name="T9" fmla="*/ 2147483647 h 418"/>
                    <a:gd name="T10" fmla="*/ 2147483647 w 455"/>
                    <a:gd name="T11" fmla="*/ 2147483647 h 418"/>
                    <a:gd name="T12" fmla="*/ 2147483647 w 455"/>
                    <a:gd name="T13" fmla="*/ 2147483647 h 418"/>
                    <a:gd name="T14" fmla="*/ 2147483647 w 455"/>
                    <a:gd name="T15" fmla="*/ 2147483647 h 418"/>
                    <a:gd name="T16" fmla="*/ 2147483647 w 455"/>
                    <a:gd name="T17" fmla="*/ 2147483647 h 418"/>
                    <a:gd name="T18" fmla="*/ 2147483647 w 455"/>
                    <a:gd name="T19" fmla="*/ 2147483647 h 418"/>
                    <a:gd name="T20" fmla="*/ 2147483647 w 455"/>
                    <a:gd name="T21" fmla="*/ 2147483647 h 418"/>
                    <a:gd name="T22" fmla="*/ 2147483647 w 455"/>
                    <a:gd name="T23" fmla="*/ 2147483647 h 418"/>
                    <a:gd name="T24" fmla="*/ 2147483647 w 455"/>
                    <a:gd name="T25" fmla="*/ 0 h 418"/>
                    <a:gd name="T26" fmla="*/ 0 w 455"/>
                    <a:gd name="T27" fmla="*/ 2147483647 h 418"/>
                    <a:gd name="T28" fmla="*/ 2147483647 w 455"/>
                    <a:gd name="T29" fmla="*/ 2147483647 h 418"/>
                    <a:gd name="T30" fmla="*/ 2147483647 w 455"/>
                    <a:gd name="T31" fmla="*/ 2147483647 h 418"/>
                    <a:gd name="T32" fmla="*/ 2147483647 w 455"/>
                    <a:gd name="T33" fmla="*/ 2147483647 h 418"/>
                    <a:gd name="T34" fmla="*/ 2147483647 w 455"/>
                    <a:gd name="T35" fmla="*/ 2147483647 h 418"/>
                    <a:gd name="T36" fmla="*/ 2147483647 w 455"/>
                    <a:gd name="T37" fmla="*/ 2147483647 h 418"/>
                    <a:gd name="T38" fmla="*/ 2147483647 w 455"/>
                    <a:gd name="T39" fmla="*/ 2147483647 h 418"/>
                    <a:gd name="T40" fmla="*/ 2147483647 w 455"/>
                    <a:gd name="T41" fmla="*/ 2147483647 h 418"/>
                    <a:gd name="T42" fmla="*/ 2147483647 w 455"/>
                    <a:gd name="T43" fmla="*/ 2147483647 h 418"/>
                    <a:gd name="T44" fmla="*/ 2147483647 w 455"/>
                    <a:gd name="T45" fmla="*/ 2147483647 h 418"/>
                    <a:gd name="T46" fmla="*/ 2147483647 w 455"/>
                    <a:gd name="T47" fmla="*/ 2147483647 h 418"/>
                    <a:gd name="T48" fmla="*/ 2147483647 w 455"/>
                    <a:gd name="T49" fmla="*/ 2147483647 h 418"/>
                    <a:gd name="T50" fmla="*/ 2147483647 w 455"/>
                    <a:gd name="T51" fmla="*/ 2147483647 h 418"/>
                    <a:gd name="T52" fmla="*/ 2147483647 w 455"/>
                    <a:gd name="T53" fmla="*/ 2147483647 h 418"/>
                    <a:gd name="T54" fmla="*/ 2147483647 w 455"/>
                    <a:gd name="T55" fmla="*/ 2147483647 h 418"/>
                    <a:gd name="T56" fmla="*/ 2147483647 w 455"/>
                    <a:gd name="T57" fmla="*/ 2147483647 h 418"/>
                    <a:gd name="T58" fmla="*/ 2147483647 w 455"/>
                    <a:gd name="T59" fmla="*/ 2147483647 h 418"/>
                    <a:gd name="T60" fmla="*/ 2147483647 w 455"/>
                    <a:gd name="T61" fmla="*/ 2147483647 h 418"/>
                    <a:gd name="T62" fmla="*/ 2147483647 w 455"/>
                    <a:gd name="T63" fmla="*/ 2147483647 h 418"/>
                    <a:gd name="T64" fmla="*/ 2147483647 w 455"/>
                    <a:gd name="T65" fmla="*/ 2147483647 h 418"/>
                    <a:gd name="T66" fmla="*/ 2147483647 w 455"/>
                    <a:gd name="T67" fmla="*/ 2147483647 h 418"/>
                    <a:gd name="T68" fmla="*/ 2147483647 w 455"/>
                    <a:gd name="T69" fmla="*/ 2147483647 h 418"/>
                    <a:gd name="T70" fmla="*/ 2147483647 w 455"/>
                    <a:gd name="T71" fmla="*/ 2147483647 h 418"/>
                    <a:gd name="T72" fmla="*/ 2147483647 w 455"/>
                    <a:gd name="T73" fmla="*/ 2147483647 h 418"/>
                    <a:gd name="T74" fmla="*/ 2147483647 w 455"/>
                    <a:gd name="T75" fmla="*/ 2147483647 h 418"/>
                    <a:gd name="T76" fmla="*/ 2147483647 w 455"/>
                    <a:gd name="T77" fmla="*/ 2147483647 h 418"/>
                    <a:gd name="T78" fmla="*/ 2147483647 w 455"/>
                    <a:gd name="T79" fmla="*/ 2147483647 h 418"/>
                    <a:gd name="T80" fmla="*/ 2147483647 w 455"/>
                    <a:gd name="T81" fmla="*/ 2147483647 h 418"/>
                    <a:gd name="T82" fmla="*/ 2147483647 w 455"/>
                    <a:gd name="T83" fmla="*/ 2147483647 h 418"/>
                    <a:gd name="T84" fmla="*/ 2147483647 w 455"/>
                    <a:gd name="T85" fmla="*/ 2147483647 h 418"/>
                    <a:gd name="T86" fmla="*/ 2147483647 w 455"/>
                    <a:gd name="T87" fmla="*/ 2147483647 h 418"/>
                    <a:gd name="T88" fmla="*/ 2147483647 w 455"/>
                    <a:gd name="T89" fmla="*/ 2147483647 h 418"/>
                    <a:gd name="T90" fmla="*/ 2147483647 w 455"/>
                    <a:gd name="T91" fmla="*/ 2147483647 h 418"/>
                    <a:gd name="T92" fmla="*/ 2147483647 w 455"/>
                    <a:gd name="T93" fmla="*/ 2147483647 h 418"/>
                    <a:gd name="T94" fmla="*/ 2147483647 w 455"/>
                    <a:gd name="T95" fmla="*/ 2147483647 h 418"/>
                    <a:gd name="T96" fmla="*/ 2147483647 w 455"/>
                    <a:gd name="T97" fmla="*/ 2147483647 h 418"/>
                    <a:gd name="T98" fmla="*/ 2147483647 w 455"/>
                    <a:gd name="T99" fmla="*/ 2147483647 h 418"/>
                    <a:gd name="T100" fmla="*/ 2147483647 w 455"/>
                    <a:gd name="T101" fmla="*/ 2147483647 h 418"/>
                    <a:gd name="T102" fmla="*/ 2147483647 w 455"/>
                    <a:gd name="T103" fmla="*/ 2147483647 h 418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455"/>
                    <a:gd name="T157" fmla="*/ 0 h 418"/>
                    <a:gd name="T158" fmla="*/ 455 w 455"/>
                    <a:gd name="T159" fmla="*/ 418 h 418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455" h="418">
                      <a:moveTo>
                        <a:pt x="385" y="294"/>
                      </a:moveTo>
                      <a:cubicBezTo>
                        <a:pt x="385" y="298"/>
                        <a:pt x="389" y="301"/>
                        <a:pt x="393" y="301"/>
                      </a:cubicBezTo>
                      <a:cubicBezTo>
                        <a:pt x="397" y="301"/>
                        <a:pt x="400" y="298"/>
                        <a:pt x="400" y="294"/>
                      </a:cubicBezTo>
                      <a:cubicBezTo>
                        <a:pt x="400" y="290"/>
                        <a:pt x="397" y="287"/>
                        <a:pt x="393" y="287"/>
                      </a:cubicBezTo>
                      <a:cubicBezTo>
                        <a:pt x="389" y="287"/>
                        <a:pt x="385" y="290"/>
                        <a:pt x="385" y="294"/>
                      </a:cubicBezTo>
                      <a:close/>
                      <a:moveTo>
                        <a:pt x="412" y="294"/>
                      </a:moveTo>
                      <a:cubicBezTo>
                        <a:pt x="412" y="298"/>
                        <a:pt x="415" y="301"/>
                        <a:pt x="419" y="301"/>
                      </a:cubicBezTo>
                      <a:cubicBezTo>
                        <a:pt x="423" y="301"/>
                        <a:pt x="426" y="298"/>
                        <a:pt x="426" y="294"/>
                      </a:cubicBezTo>
                      <a:cubicBezTo>
                        <a:pt x="426" y="290"/>
                        <a:pt x="423" y="287"/>
                        <a:pt x="419" y="287"/>
                      </a:cubicBezTo>
                      <a:cubicBezTo>
                        <a:pt x="415" y="287"/>
                        <a:pt x="412" y="290"/>
                        <a:pt x="412" y="294"/>
                      </a:cubicBezTo>
                      <a:close/>
                      <a:moveTo>
                        <a:pt x="447" y="61"/>
                      </a:moveTo>
                      <a:cubicBezTo>
                        <a:pt x="443" y="61"/>
                        <a:pt x="439" y="65"/>
                        <a:pt x="439" y="69"/>
                      </a:cubicBezTo>
                      <a:cubicBezTo>
                        <a:pt x="439" y="310"/>
                        <a:pt x="439" y="310"/>
                        <a:pt x="439" y="310"/>
                      </a:cubicBezTo>
                      <a:cubicBezTo>
                        <a:pt x="439" y="311"/>
                        <a:pt x="438" y="312"/>
                        <a:pt x="437" y="312"/>
                      </a:cubicBezTo>
                      <a:cubicBezTo>
                        <a:pt x="18" y="312"/>
                        <a:pt x="18" y="312"/>
                        <a:pt x="18" y="312"/>
                      </a:cubicBezTo>
                      <a:cubicBezTo>
                        <a:pt x="17" y="312"/>
                        <a:pt x="16" y="311"/>
                        <a:pt x="16" y="310"/>
                      </a:cubicBezTo>
                      <a:cubicBezTo>
                        <a:pt x="16" y="18"/>
                        <a:pt x="16" y="18"/>
                        <a:pt x="16" y="18"/>
                      </a:cubicBezTo>
                      <a:cubicBezTo>
                        <a:pt x="16" y="17"/>
                        <a:pt x="17" y="16"/>
                        <a:pt x="18" y="16"/>
                      </a:cubicBezTo>
                      <a:cubicBezTo>
                        <a:pt x="437" y="16"/>
                        <a:pt x="437" y="16"/>
                        <a:pt x="437" y="16"/>
                      </a:cubicBezTo>
                      <a:cubicBezTo>
                        <a:pt x="438" y="16"/>
                        <a:pt x="439" y="17"/>
                        <a:pt x="439" y="18"/>
                      </a:cubicBezTo>
                      <a:cubicBezTo>
                        <a:pt x="439" y="41"/>
                        <a:pt x="439" y="41"/>
                        <a:pt x="439" y="41"/>
                      </a:cubicBezTo>
                      <a:cubicBezTo>
                        <a:pt x="439" y="46"/>
                        <a:pt x="443" y="49"/>
                        <a:pt x="447" y="49"/>
                      </a:cubicBezTo>
                      <a:cubicBezTo>
                        <a:pt x="451" y="49"/>
                        <a:pt x="455" y="46"/>
                        <a:pt x="455" y="41"/>
                      </a:cubicBezTo>
                      <a:cubicBezTo>
                        <a:pt x="455" y="41"/>
                        <a:pt x="455" y="41"/>
                        <a:pt x="455" y="41"/>
                      </a:cubicBezTo>
                      <a:cubicBezTo>
                        <a:pt x="455" y="18"/>
                        <a:pt x="455" y="18"/>
                        <a:pt x="455" y="18"/>
                      </a:cubicBezTo>
                      <a:cubicBezTo>
                        <a:pt x="455" y="8"/>
                        <a:pt x="447" y="0"/>
                        <a:pt x="437" y="0"/>
                      </a:cubicBez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310"/>
                        <a:pt x="0" y="310"/>
                        <a:pt x="0" y="310"/>
                      </a:cubicBezTo>
                      <a:cubicBezTo>
                        <a:pt x="0" y="320"/>
                        <a:pt x="8" y="328"/>
                        <a:pt x="18" y="328"/>
                      </a:cubicBezTo>
                      <a:cubicBezTo>
                        <a:pt x="175" y="328"/>
                        <a:pt x="175" y="328"/>
                        <a:pt x="175" y="328"/>
                      </a:cubicBezTo>
                      <a:cubicBezTo>
                        <a:pt x="175" y="328"/>
                        <a:pt x="175" y="328"/>
                        <a:pt x="175" y="328"/>
                      </a:cubicBezTo>
                      <a:cubicBezTo>
                        <a:pt x="175" y="331"/>
                        <a:pt x="175" y="336"/>
                        <a:pt x="175" y="344"/>
                      </a:cubicBezTo>
                      <a:cubicBezTo>
                        <a:pt x="175" y="345"/>
                        <a:pt x="175" y="346"/>
                        <a:pt x="175" y="347"/>
                      </a:cubicBezTo>
                      <a:cubicBezTo>
                        <a:pt x="150" y="349"/>
                        <a:pt x="129" y="353"/>
                        <a:pt x="114" y="357"/>
                      </a:cubicBezTo>
                      <a:cubicBezTo>
                        <a:pt x="105" y="360"/>
                        <a:pt x="98" y="363"/>
                        <a:pt x="93" y="366"/>
                      </a:cubicBezTo>
                      <a:cubicBezTo>
                        <a:pt x="88" y="369"/>
                        <a:pt x="83" y="374"/>
                        <a:pt x="83" y="382"/>
                      </a:cubicBezTo>
                      <a:cubicBezTo>
                        <a:pt x="83" y="386"/>
                        <a:pt x="85" y="390"/>
                        <a:pt x="88" y="393"/>
                      </a:cubicBezTo>
                      <a:cubicBezTo>
                        <a:pt x="92" y="398"/>
                        <a:pt x="99" y="401"/>
                        <a:pt x="108" y="404"/>
                      </a:cubicBezTo>
                      <a:cubicBezTo>
                        <a:pt x="133" y="412"/>
                        <a:pt x="176" y="418"/>
                        <a:pt x="226" y="418"/>
                      </a:cubicBezTo>
                      <a:cubicBezTo>
                        <a:pt x="264" y="418"/>
                        <a:pt x="299" y="415"/>
                        <a:pt x="324" y="409"/>
                      </a:cubicBezTo>
                      <a:cubicBezTo>
                        <a:pt x="337" y="407"/>
                        <a:pt x="347" y="404"/>
                        <a:pt x="355" y="400"/>
                      </a:cubicBezTo>
                      <a:cubicBezTo>
                        <a:pt x="359" y="398"/>
                        <a:pt x="362" y="396"/>
                        <a:pt x="365" y="393"/>
                      </a:cubicBezTo>
                      <a:cubicBezTo>
                        <a:pt x="368" y="390"/>
                        <a:pt x="370" y="386"/>
                        <a:pt x="370" y="382"/>
                      </a:cubicBezTo>
                      <a:cubicBezTo>
                        <a:pt x="370" y="374"/>
                        <a:pt x="365" y="369"/>
                        <a:pt x="360" y="366"/>
                      </a:cubicBezTo>
                      <a:cubicBezTo>
                        <a:pt x="345" y="357"/>
                        <a:pt x="316" y="351"/>
                        <a:pt x="279" y="348"/>
                      </a:cubicBezTo>
                      <a:cubicBezTo>
                        <a:pt x="279" y="346"/>
                        <a:pt x="279" y="345"/>
                        <a:pt x="279" y="344"/>
                      </a:cubicBezTo>
                      <a:cubicBezTo>
                        <a:pt x="279" y="335"/>
                        <a:pt x="279" y="330"/>
                        <a:pt x="279" y="328"/>
                      </a:cubicBezTo>
                      <a:cubicBezTo>
                        <a:pt x="437" y="328"/>
                        <a:pt x="437" y="328"/>
                        <a:pt x="437" y="328"/>
                      </a:cubicBezTo>
                      <a:cubicBezTo>
                        <a:pt x="447" y="328"/>
                        <a:pt x="455" y="320"/>
                        <a:pt x="455" y="310"/>
                      </a:cubicBezTo>
                      <a:cubicBezTo>
                        <a:pt x="455" y="69"/>
                        <a:pt x="455" y="69"/>
                        <a:pt x="455" y="69"/>
                      </a:cubicBezTo>
                      <a:cubicBezTo>
                        <a:pt x="455" y="65"/>
                        <a:pt x="451" y="61"/>
                        <a:pt x="447" y="61"/>
                      </a:cubicBezTo>
                      <a:close/>
                      <a:moveTo>
                        <a:pt x="290" y="387"/>
                      </a:moveTo>
                      <a:cubicBezTo>
                        <a:pt x="291" y="388"/>
                        <a:pt x="292" y="388"/>
                        <a:pt x="293" y="388"/>
                      </a:cubicBezTo>
                      <a:cubicBezTo>
                        <a:pt x="296" y="388"/>
                        <a:pt x="299" y="386"/>
                        <a:pt x="301" y="383"/>
                      </a:cubicBezTo>
                      <a:cubicBezTo>
                        <a:pt x="302" y="379"/>
                        <a:pt x="300" y="374"/>
                        <a:pt x="296" y="373"/>
                      </a:cubicBezTo>
                      <a:cubicBezTo>
                        <a:pt x="296" y="373"/>
                        <a:pt x="296" y="373"/>
                        <a:pt x="296" y="372"/>
                      </a:cubicBezTo>
                      <a:cubicBezTo>
                        <a:pt x="294" y="372"/>
                        <a:pt x="290" y="369"/>
                        <a:pt x="286" y="365"/>
                      </a:cubicBezTo>
                      <a:cubicBezTo>
                        <a:pt x="286" y="365"/>
                        <a:pt x="286" y="364"/>
                        <a:pt x="286" y="364"/>
                      </a:cubicBezTo>
                      <a:cubicBezTo>
                        <a:pt x="306" y="366"/>
                        <a:pt x="323" y="369"/>
                        <a:pt x="335" y="373"/>
                      </a:cubicBezTo>
                      <a:cubicBezTo>
                        <a:pt x="342" y="375"/>
                        <a:pt x="348" y="378"/>
                        <a:pt x="351" y="380"/>
                      </a:cubicBezTo>
                      <a:cubicBezTo>
                        <a:pt x="352" y="380"/>
                        <a:pt x="353" y="381"/>
                        <a:pt x="354" y="382"/>
                      </a:cubicBezTo>
                      <a:cubicBezTo>
                        <a:pt x="353" y="382"/>
                        <a:pt x="353" y="382"/>
                        <a:pt x="352" y="383"/>
                      </a:cubicBezTo>
                      <a:cubicBezTo>
                        <a:pt x="346" y="387"/>
                        <a:pt x="329" y="393"/>
                        <a:pt x="307" y="396"/>
                      </a:cubicBezTo>
                      <a:cubicBezTo>
                        <a:pt x="285" y="400"/>
                        <a:pt x="257" y="402"/>
                        <a:pt x="226" y="402"/>
                      </a:cubicBezTo>
                      <a:cubicBezTo>
                        <a:pt x="189" y="402"/>
                        <a:pt x="156" y="399"/>
                        <a:pt x="132" y="394"/>
                      </a:cubicBezTo>
                      <a:cubicBezTo>
                        <a:pt x="120" y="391"/>
                        <a:pt x="111" y="388"/>
                        <a:pt x="105" y="385"/>
                      </a:cubicBezTo>
                      <a:cubicBezTo>
                        <a:pt x="102" y="384"/>
                        <a:pt x="100" y="382"/>
                        <a:pt x="99" y="382"/>
                      </a:cubicBezTo>
                      <a:cubicBezTo>
                        <a:pt x="99" y="382"/>
                        <a:pt x="99" y="382"/>
                        <a:pt x="99" y="382"/>
                      </a:cubicBezTo>
                      <a:cubicBezTo>
                        <a:pt x="101" y="379"/>
                        <a:pt x="110" y="374"/>
                        <a:pt x="124" y="371"/>
                      </a:cubicBezTo>
                      <a:cubicBezTo>
                        <a:pt x="136" y="368"/>
                        <a:pt x="151" y="366"/>
                        <a:pt x="168" y="364"/>
                      </a:cubicBezTo>
                      <a:cubicBezTo>
                        <a:pt x="168" y="365"/>
                        <a:pt x="167" y="366"/>
                        <a:pt x="166" y="366"/>
                      </a:cubicBezTo>
                      <a:cubicBezTo>
                        <a:pt x="164" y="369"/>
                        <a:pt x="162" y="370"/>
                        <a:pt x="160" y="371"/>
                      </a:cubicBezTo>
                      <a:cubicBezTo>
                        <a:pt x="159" y="372"/>
                        <a:pt x="159" y="372"/>
                        <a:pt x="158" y="372"/>
                      </a:cubicBezTo>
                      <a:cubicBezTo>
                        <a:pt x="158" y="372"/>
                        <a:pt x="158" y="372"/>
                        <a:pt x="158" y="373"/>
                      </a:cubicBezTo>
                      <a:cubicBezTo>
                        <a:pt x="154" y="374"/>
                        <a:pt x="152" y="379"/>
                        <a:pt x="153" y="383"/>
                      </a:cubicBezTo>
                      <a:cubicBezTo>
                        <a:pt x="155" y="386"/>
                        <a:pt x="158" y="388"/>
                        <a:pt x="161" y="388"/>
                      </a:cubicBezTo>
                      <a:cubicBezTo>
                        <a:pt x="162" y="388"/>
                        <a:pt x="163" y="388"/>
                        <a:pt x="164" y="387"/>
                      </a:cubicBezTo>
                      <a:cubicBezTo>
                        <a:pt x="164" y="387"/>
                        <a:pt x="171" y="384"/>
                        <a:pt x="177" y="378"/>
                      </a:cubicBezTo>
                      <a:cubicBezTo>
                        <a:pt x="184" y="371"/>
                        <a:pt x="191" y="360"/>
                        <a:pt x="191" y="344"/>
                      </a:cubicBezTo>
                      <a:cubicBezTo>
                        <a:pt x="191" y="335"/>
                        <a:pt x="191" y="330"/>
                        <a:pt x="191" y="328"/>
                      </a:cubicBezTo>
                      <a:cubicBezTo>
                        <a:pt x="263" y="328"/>
                        <a:pt x="263" y="328"/>
                        <a:pt x="263" y="328"/>
                      </a:cubicBezTo>
                      <a:cubicBezTo>
                        <a:pt x="263" y="328"/>
                        <a:pt x="263" y="328"/>
                        <a:pt x="263" y="328"/>
                      </a:cubicBezTo>
                      <a:cubicBezTo>
                        <a:pt x="263" y="331"/>
                        <a:pt x="263" y="336"/>
                        <a:pt x="263" y="344"/>
                      </a:cubicBezTo>
                      <a:cubicBezTo>
                        <a:pt x="263" y="360"/>
                        <a:pt x="270" y="371"/>
                        <a:pt x="276" y="378"/>
                      </a:cubicBezTo>
                      <a:cubicBezTo>
                        <a:pt x="283" y="384"/>
                        <a:pt x="290" y="387"/>
                        <a:pt x="290" y="387"/>
                      </a:cubicBezTo>
                      <a:close/>
                      <a:moveTo>
                        <a:pt x="427" y="46"/>
                      </a:moveTo>
                      <a:cubicBezTo>
                        <a:pt x="427" y="37"/>
                        <a:pt x="420" y="29"/>
                        <a:pt x="411" y="29"/>
                      </a:cubicBezTo>
                      <a:cubicBezTo>
                        <a:pt x="44" y="29"/>
                        <a:pt x="44" y="29"/>
                        <a:pt x="44" y="29"/>
                      </a:cubicBezTo>
                      <a:cubicBezTo>
                        <a:pt x="35" y="29"/>
                        <a:pt x="27" y="37"/>
                        <a:pt x="27" y="46"/>
                      </a:cubicBezTo>
                      <a:cubicBezTo>
                        <a:pt x="27" y="259"/>
                        <a:pt x="27" y="259"/>
                        <a:pt x="27" y="259"/>
                      </a:cubicBezTo>
                      <a:cubicBezTo>
                        <a:pt x="27" y="268"/>
                        <a:pt x="35" y="276"/>
                        <a:pt x="44" y="276"/>
                      </a:cubicBezTo>
                      <a:cubicBezTo>
                        <a:pt x="411" y="276"/>
                        <a:pt x="411" y="276"/>
                        <a:pt x="411" y="276"/>
                      </a:cubicBezTo>
                      <a:cubicBezTo>
                        <a:pt x="420" y="276"/>
                        <a:pt x="427" y="268"/>
                        <a:pt x="427" y="259"/>
                      </a:cubicBezTo>
                      <a:lnTo>
                        <a:pt x="427" y="46"/>
                      </a:lnTo>
                      <a:close/>
                      <a:moveTo>
                        <a:pt x="411" y="259"/>
                      </a:moveTo>
                      <a:cubicBezTo>
                        <a:pt x="411" y="260"/>
                        <a:pt x="411" y="260"/>
                        <a:pt x="411" y="260"/>
                      </a:cubicBezTo>
                      <a:cubicBezTo>
                        <a:pt x="44" y="260"/>
                        <a:pt x="44" y="260"/>
                        <a:pt x="44" y="260"/>
                      </a:cubicBezTo>
                      <a:cubicBezTo>
                        <a:pt x="44" y="260"/>
                        <a:pt x="43" y="260"/>
                        <a:pt x="43" y="259"/>
                      </a:cubicBezTo>
                      <a:cubicBezTo>
                        <a:pt x="43" y="46"/>
                        <a:pt x="43" y="46"/>
                        <a:pt x="43" y="46"/>
                      </a:cubicBezTo>
                      <a:cubicBezTo>
                        <a:pt x="43" y="46"/>
                        <a:pt x="44" y="45"/>
                        <a:pt x="44" y="45"/>
                      </a:cubicBezTo>
                      <a:cubicBezTo>
                        <a:pt x="411" y="45"/>
                        <a:pt x="411" y="45"/>
                        <a:pt x="411" y="45"/>
                      </a:cubicBezTo>
                      <a:cubicBezTo>
                        <a:pt x="411" y="45"/>
                        <a:pt x="411" y="46"/>
                        <a:pt x="411" y="46"/>
                      </a:cubicBezTo>
                      <a:lnTo>
                        <a:pt x="411" y="25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8585A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itchFamily="34" charset="-128"/>
                    <a:cs typeface="Arial" panose="020B0604020202020204" pitchFamily="34" charset="0"/>
                  </a:endParaRPr>
                </a:p>
              </p:txBody>
            </p:sp>
          </p:grpSp>
        </p:grpSp>
        <p:cxnSp>
          <p:nvCxnSpPr>
            <p:cNvPr id="122" name="Straight Connector 62">
              <a:extLst>
                <a:ext uri="{FF2B5EF4-FFF2-40B4-BE49-F238E27FC236}">
                  <a16:creationId xmlns="" xmlns:a16="http://schemas.microsoft.com/office/drawing/2014/main" id="{E4519DDB-C387-479B-A239-14A884826F43}"/>
                </a:ext>
              </a:extLst>
            </p:cNvPr>
            <p:cNvCxnSpPr>
              <a:cxnSpLocks noChangeShapeType="1"/>
            </p:cNvCxnSpPr>
            <p:nvPr>
              <p:custDataLst>
                <p:tags r:id="rId3"/>
              </p:custDataLst>
            </p:nvPr>
          </p:nvCxnSpPr>
          <p:spPr bwMode="auto">
            <a:xfrm>
              <a:off x="4554879" y="2617390"/>
              <a:ext cx="896773" cy="721150"/>
            </a:xfrm>
            <a:prstGeom prst="line">
              <a:avLst/>
            </a:prstGeom>
            <a:noFill/>
            <a:ln w="25400" cap="rnd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23" name="Straight Connector 62">
              <a:extLst>
                <a:ext uri="{FF2B5EF4-FFF2-40B4-BE49-F238E27FC236}">
                  <a16:creationId xmlns="" xmlns:a16="http://schemas.microsoft.com/office/drawing/2014/main" id="{7BA28F70-19FB-4196-A9B6-6612E608C733}"/>
                </a:ext>
              </a:extLst>
            </p:cNvPr>
            <p:cNvCxnSpPr>
              <a:cxnSpLocks noChangeShapeType="1"/>
            </p:cNvCxnSpPr>
            <p:nvPr>
              <p:custDataLst>
                <p:tags r:id="rId4"/>
              </p:custDataLst>
            </p:nvPr>
          </p:nvCxnSpPr>
          <p:spPr bwMode="auto">
            <a:xfrm>
              <a:off x="3875634" y="2820287"/>
              <a:ext cx="1581203" cy="591691"/>
            </a:xfrm>
            <a:prstGeom prst="line">
              <a:avLst/>
            </a:prstGeom>
            <a:noFill/>
            <a:ln w="25400" cap="rnd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24" name="Straight Connector 62">
              <a:extLst>
                <a:ext uri="{FF2B5EF4-FFF2-40B4-BE49-F238E27FC236}">
                  <a16:creationId xmlns="" xmlns:a16="http://schemas.microsoft.com/office/drawing/2014/main" id="{A6B792F9-D607-4EF9-8888-E523A32656D0}"/>
                </a:ext>
              </a:extLst>
            </p:cNvPr>
            <p:cNvCxnSpPr>
              <a:cxnSpLocks noChangeShapeType="1"/>
            </p:cNvCxnSpPr>
            <p:nvPr>
              <p:custDataLst>
                <p:tags r:id="rId5"/>
              </p:custDataLst>
            </p:nvPr>
          </p:nvCxnSpPr>
          <p:spPr bwMode="auto">
            <a:xfrm flipV="1">
              <a:off x="3893156" y="3562292"/>
              <a:ext cx="1558496" cy="624542"/>
            </a:xfrm>
            <a:prstGeom prst="line">
              <a:avLst/>
            </a:prstGeom>
            <a:noFill/>
            <a:ln w="25400" cap="rnd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25" name="Straight Connector 62">
              <a:extLst>
                <a:ext uri="{FF2B5EF4-FFF2-40B4-BE49-F238E27FC236}">
                  <a16:creationId xmlns="" xmlns:a16="http://schemas.microsoft.com/office/drawing/2014/main" id="{A17E20FB-EEAD-46B5-B5E1-6950BF5926DF}"/>
                </a:ext>
              </a:extLst>
            </p:cNvPr>
            <p:cNvCxnSpPr>
              <a:cxnSpLocks noChangeShapeType="1"/>
            </p:cNvCxnSpPr>
            <p:nvPr>
              <p:custDataLst>
                <p:tags r:id="rId6"/>
              </p:custDataLst>
            </p:nvPr>
          </p:nvCxnSpPr>
          <p:spPr bwMode="auto">
            <a:xfrm flipV="1">
              <a:off x="3880088" y="3630910"/>
              <a:ext cx="1569893" cy="1257535"/>
            </a:xfrm>
            <a:prstGeom prst="line">
              <a:avLst/>
            </a:prstGeom>
            <a:noFill/>
            <a:ln w="25400" cap="rnd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26" name="Straight Connector 125">
              <a:extLst>
                <a:ext uri="{FF2B5EF4-FFF2-40B4-BE49-F238E27FC236}">
                  <a16:creationId xmlns="" xmlns:a16="http://schemas.microsoft.com/office/drawing/2014/main" id="{3AE51E6E-1DC6-4275-990B-8956C9D42563}"/>
                </a:ext>
              </a:extLst>
            </p:cNvPr>
            <p:cNvCxnSpPr>
              <a:cxnSpLocks noChangeShapeType="1"/>
            </p:cNvCxnSpPr>
            <p:nvPr>
              <p:custDataLst>
                <p:tags r:id="rId7"/>
              </p:custDataLst>
            </p:nvPr>
          </p:nvCxnSpPr>
          <p:spPr bwMode="auto">
            <a:xfrm flipV="1">
              <a:off x="4472480" y="3695248"/>
              <a:ext cx="988586" cy="1460791"/>
            </a:xfrm>
            <a:prstGeom prst="line">
              <a:avLst/>
            </a:prstGeom>
            <a:noFill/>
            <a:ln w="25400" cap="rnd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</p:cxnSp>
        <p:grpSp>
          <p:nvGrpSpPr>
            <p:cNvPr id="127" name="Group 126">
              <a:extLst>
                <a:ext uri="{FF2B5EF4-FFF2-40B4-BE49-F238E27FC236}">
                  <a16:creationId xmlns="" xmlns:a16="http://schemas.microsoft.com/office/drawing/2014/main" id="{FA24FAF5-4F9A-4939-B7A7-E87B78AE6182}"/>
                </a:ext>
              </a:extLst>
            </p:cNvPr>
            <p:cNvGrpSpPr/>
            <p:nvPr/>
          </p:nvGrpSpPr>
          <p:grpSpPr>
            <a:xfrm>
              <a:off x="10112342" y="1926581"/>
              <a:ext cx="719503" cy="720244"/>
              <a:chOff x="9989914" y="2181961"/>
              <a:chExt cx="719503" cy="720244"/>
            </a:xfrm>
          </p:grpSpPr>
          <p:sp>
            <p:nvSpPr>
              <p:cNvPr id="128" name="Rounded Rectangle 103">
                <a:extLst>
                  <a:ext uri="{FF2B5EF4-FFF2-40B4-BE49-F238E27FC236}">
                    <a16:creationId xmlns="" xmlns:a16="http://schemas.microsoft.com/office/drawing/2014/main" id="{66164296-A954-4F08-B98C-90CF0E8300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89914" y="2181961"/>
                <a:ext cx="719503" cy="720244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20000"/>
                </a:schemeClr>
              </a:solidFill>
              <a:ln w="2540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71988" tIns="45718" rIns="71988" bIns="45718"/>
              <a:lstStyle>
                <a:lvl1pPr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Ericsson Sans Medium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9" name="Freeform 9">
                <a:extLst>
                  <a:ext uri="{FF2B5EF4-FFF2-40B4-BE49-F238E27FC236}">
                    <a16:creationId xmlns="" xmlns:a16="http://schemas.microsoft.com/office/drawing/2014/main" id="{8E0B6893-DC23-48FD-A3F3-1283DA8CC01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0108112" y="2411312"/>
                <a:ext cx="469384" cy="279635"/>
              </a:xfrm>
              <a:custGeom>
                <a:avLst/>
                <a:gdLst>
                  <a:gd name="T0" fmla="*/ 2147483647 w 474"/>
                  <a:gd name="T1" fmla="*/ 2147483647 h 295"/>
                  <a:gd name="T2" fmla="*/ 2147483647 w 474"/>
                  <a:gd name="T3" fmla="*/ 2147483647 h 295"/>
                  <a:gd name="T4" fmla="*/ 2147483647 w 474"/>
                  <a:gd name="T5" fmla="*/ 2147483647 h 295"/>
                  <a:gd name="T6" fmla="*/ 2147483647 w 474"/>
                  <a:gd name="T7" fmla="*/ 2147483647 h 295"/>
                  <a:gd name="T8" fmla="*/ 2147483647 w 474"/>
                  <a:gd name="T9" fmla="*/ 2147483647 h 295"/>
                  <a:gd name="T10" fmla="*/ 2147483647 w 474"/>
                  <a:gd name="T11" fmla="*/ 2147483647 h 295"/>
                  <a:gd name="T12" fmla="*/ 2147483647 w 474"/>
                  <a:gd name="T13" fmla="*/ 2147483647 h 295"/>
                  <a:gd name="T14" fmla="*/ 2147483647 w 474"/>
                  <a:gd name="T15" fmla="*/ 2147483647 h 295"/>
                  <a:gd name="T16" fmla="*/ 2147483647 w 474"/>
                  <a:gd name="T17" fmla="*/ 2147483647 h 295"/>
                  <a:gd name="T18" fmla="*/ 2147483647 w 474"/>
                  <a:gd name="T19" fmla="*/ 2147483647 h 295"/>
                  <a:gd name="T20" fmla="*/ 2147483647 w 474"/>
                  <a:gd name="T21" fmla="*/ 2147483647 h 295"/>
                  <a:gd name="T22" fmla="*/ 2147483647 w 474"/>
                  <a:gd name="T23" fmla="*/ 2147483647 h 295"/>
                  <a:gd name="T24" fmla="*/ 2147483647 w 474"/>
                  <a:gd name="T25" fmla="*/ 2147483647 h 295"/>
                  <a:gd name="T26" fmla="*/ 2147483647 w 474"/>
                  <a:gd name="T27" fmla="*/ 2147483647 h 295"/>
                  <a:gd name="T28" fmla="*/ 2147483647 w 474"/>
                  <a:gd name="T29" fmla="*/ 2147483647 h 295"/>
                  <a:gd name="T30" fmla="*/ 2147483647 w 474"/>
                  <a:gd name="T31" fmla="*/ 2147483647 h 295"/>
                  <a:gd name="T32" fmla="*/ 2147483647 w 474"/>
                  <a:gd name="T33" fmla="*/ 2147483647 h 295"/>
                  <a:gd name="T34" fmla="*/ 2147483647 w 474"/>
                  <a:gd name="T35" fmla="*/ 2147483647 h 295"/>
                  <a:gd name="T36" fmla="*/ 2147483647 w 474"/>
                  <a:gd name="T37" fmla="*/ 2147483647 h 295"/>
                  <a:gd name="T38" fmla="*/ 2147483647 w 474"/>
                  <a:gd name="T39" fmla="*/ 2147483647 h 295"/>
                  <a:gd name="T40" fmla="*/ 2147483647 w 474"/>
                  <a:gd name="T41" fmla="*/ 2147483647 h 295"/>
                  <a:gd name="T42" fmla="*/ 2147483647 w 474"/>
                  <a:gd name="T43" fmla="*/ 2147483647 h 295"/>
                  <a:gd name="T44" fmla="*/ 2147483647 w 474"/>
                  <a:gd name="T45" fmla="*/ 2147483647 h 295"/>
                  <a:gd name="T46" fmla="*/ 2147483647 w 474"/>
                  <a:gd name="T47" fmla="*/ 2147483647 h 295"/>
                  <a:gd name="T48" fmla="*/ 2147483647 w 474"/>
                  <a:gd name="T49" fmla="*/ 2147483647 h 295"/>
                  <a:gd name="T50" fmla="*/ 2147483647 w 474"/>
                  <a:gd name="T51" fmla="*/ 2147483647 h 295"/>
                  <a:gd name="T52" fmla="*/ 2147483647 w 474"/>
                  <a:gd name="T53" fmla="*/ 2147483647 h 295"/>
                  <a:gd name="T54" fmla="*/ 2147483647 w 474"/>
                  <a:gd name="T55" fmla="*/ 2147483647 h 295"/>
                  <a:gd name="T56" fmla="*/ 2147483647 w 474"/>
                  <a:gd name="T57" fmla="*/ 2147483647 h 295"/>
                  <a:gd name="T58" fmla="*/ 2147483647 w 474"/>
                  <a:gd name="T59" fmla="*/ 0 h 295"/>
                  <a:gd name="T60" fmla="*/ 2147483647 w 474"/>
                  <a:gd name="T61" fmla="*/ 2147483647 h 295"/>
                  <a:gd name="T62" fmla="*/ 0 w 474"/>
                  <a:gd name="T63" fmla="*/ 2147483647 h 295"/>
                  <a:gd name="T64" fmla="*/ 2147483647 w 474"/>
                  <a:gd name="T65" fmla="*/ 2147483647 h 295"/>
                  <a:gd name="T66" fmla="*/ 2147483647 w 474"/>
                  <a:gd name="T67" fmla="*/ 2147483647 h 295"/>
                  <a:gd name="T68" fmla="*/ 2147483647 w 474"/>
                  <a:gd name="T69" fmla="*/ 2147483647 h 295"/>
                  <a:gd name="T70" fmla="*/ 2147483647 w 474"/>
                  <a:gd name="T71" fmla="*/ 2147483647 h 295"/>
                  <a:gd name="T72" fmla="*/ 2147483647 w 474"/>
                  <a:gd name="T73" fmla="*/ 2147483647 h 295"/>
                  <a:gd name="T74" fmla="*/ 2147483647 w 474"/>
                  <a:gd name="T75" fmla="*/ 2147483647 h 295"/>
                  <a:gd name="T76" fmla="*/ 2147483647 w 474"/>
                  <a:gd name="T77" fmla="*/ 2147483647 h 295"/>
                  <a:gd name="T78" fmla="*/ 2147483647 w 474"/>
                  <a:gd name="T79" fmla="*/ 2147483647 h 295"/>
                  <a:gd name="T80" fmla="*/ 2147483647 w 474"/>
                  <a:gd name="T81" fmla="*/ 2147483647 h 295"/>
                  <a:gd name="T82" fmla="*/ 2147483647 w 474"/>
                  <a:gd name="T83" fmla="*/ 2147483647 h 295"/>
                  <a:gd name="T84" fmla="*/ 2147483647 w 474"/>
                  <a:gd name="T85" fmla="*/ 2147483647 h 29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474" h="295">
                    <a:moveTo>
                      <a:pt x="454" y="182"/>
                    </a:moveTo>
                    <a:cubicBezTo>
                      <a:pt x="461" y="168"/>
                      <a:pt x="466" y="153"/>
                      <a:pt x="466" y="136"/>
                    </a:cubicBezTo>
                    <a:cubicBezTo>
                      <a:pt x="466" y="106"/>
                      <a:pt x="452" y="80"/>
                      <a:pt x="432" y="61"/>
                    </a:cubicBezTo>
                    <a:cubicBezTo>
                      <a:pt x="428" y="58"/>
                      <a:pt x="423" y="59"/>
                      <a:pt x="420" y="63"/>
                    </a:cubicBezTo>
                    <a:cubicBezTo>
                      <a:pt x="418" y="66"/>
                      <a:pt x="418" y="71"/>
                      <a:pt x="422" y="74"/>
                    </a:cubicBezTo>
                    <a:cubicBezTo>
                      <a:pt x="422" y="74"/>
                      <a:pt x="422" y="74"/>
                      <a:pt x="422" y="74"/>
                    </a:cubicBezTo>
                    <a:cubicBezTo>
                      <a:pt x="439" y="90"/>
                      <a:pt x="450" y="112"/>
                      <a:pt x="450" y="136"/>
                    </a:cubicBezTo>
                    <a:cubicBezTo>
                      <a:pt x="450" y="152"/>
                      <a:pt x="445" y="167"/>
                      <a:pt x="437" y="179"/>
                    </a:cubicBezTo>
                    <a:cubicBezTo>
                      <a:pt x="435" y="183"/>
                      <a:pt x="436" y="187"/>
                      <a:pt x="439" y="189"/>
                    </a:cubicBezTo>
                    <a:cubicBezTo>
                      <a:pt x="450" y="200"/>
                      <a:pt x="458" y="214"/>
                      <a:pt x="458" y="230"/>
                    </a:cubicBezTo>
                    <a:cubicBezTo>
                      <a:pt x="458" y="240"/>
                      <a:pt x="453" y="253"/>
                      <a:pt x="445" y="262"/>
                    </a:cubicBezTo>
                    <a:cubicBezTo>
                      <a:pt x="436" y="272"/>
                      <a:pt x="424" y="279"/>
                      <a:pt x="410" y="279"/>
                    </a:cubicBezTo>
                    <a:cubicBezTo>
                      <a:pt x="350" y="279"/>
                      <a:pt x="350" y="279"/>
                      <a:pt x="350" y="279"/>
                    </a:cubicBezTo>
                    <a:cubicBezTo>
                      <a:pt x="74" y="279"/>
                      <a:pt x="74" y="279"/>
                      <a:pt x="74" y="279"/>
                    </a:cubicBezTo>
                    <a:cubicBezTo>
                      <a:pt x="58" y="279"/>
                      <a:pt x="44" y="270"/>
                      <a:pt x="33" y="256"/>
                    </a:cubicBezTo>
                    <a:cubicBezTo>
                      <a:pt x="22" y="243"/>
                      <a:pt x="16" y="225"/>
                      <a:pt x="16" y="209"/>
                    </a:cubicBezTo>
                    <a:cubicBezTo>
                      <a:pt x="16" y="172"/>
                      <a:pt x="42" y="141"/>
                      <a:pt x="77" y="134"/>
                    </a:cubicBezTo>
                    <a:cubicBezTo>
                      <a:pt x="81" y="133"/>
                      <a:pt x="83" y="130"/>
                      <a:pt x="84" y="127"/>
                    </a:cubicBezTo>
                    <a:cubicBezTo>
                      <a:pt x="90" y="65"/>
                      <a:pt x="142" y="16"/>
                      <a:pt x="206" y="16"/>
                    </a:cubicBezTo>
                    <a:cubicBezTo>
                      <a:pt x="247" y="16"/>
                      <a:pt x="282" y="36"/>
                      <a:pt x="305" y="66"/>
                    </a:cubicBezTo>
                    <a:cubicBezTo>
                      <a:pt x="308" y="70"/>
                      <a:pt x="313" y="70"/>
                      <a:pt x="316" y="68"/>
                    </a:cubicBezTo>
                    <a:cubicBezTo>
                      <a:pt x="330" y="58"/>
                      <a:pt x="347" y="52"/>
                      <a:pt x="365" y="52"/>
                    </a:cubicBezTo>
                    <a:cubicBezTo>
                      <a:pt x="376" y="52"/>
                      <a:pt x="386" y="54"/>
                      <a:pt x="395" y="57"/>
                    </a:cubicBezTo>
                    <a:cubicBezTo>
                      <a:pt x="395" y="57"/>
                      <a:pt x="396" y="58"/>
                      <a:pt x="396" y="58"/>
                    </a:cubicBezTo>
                    <a:cubicBezTo>
                      <a:pt x="400" y="59"/>
                      <a:pt x="405" y="58"/>
                      <a:pt x="406" y="54"/>
                    </a:cubicBezTo>
                    <a:cubicBezTo>
                      <a:pt x="407" y="52"/>
                      <a:pt x="407" y="51"/>
                      <a:pt x="407" y="49"/>
                    </a:cubicBezTo>
                    <a:cubicBezTo>
                      <a:pt x="407" y="47"/>
                      <a:pt x="405" y="44"/>
                      <a:pt x="403" y="43"/>
                    </a:cubicBezTo>
                    <a:cubicBezTo>
                      <a:pt x="391" y="38"/>
                      <a:pt x="378" y="36"/>
                      <a:pt x="365" y="36"/>
                    </a:cubicBezTo>
                    <a:cubicBezTo>
                      <a:pt x="346" y="36"/>
                      <a:pt x="328" y="41"/>
                      <a:pt x="313" y="51"/>
                    </a:cubicBezTo>
                    <a:cubicBezTo>
                      <a:pt x="288" y="20"/>
                      <a:pt x="249" y="0"/>
                      <a:pt x="206" y="0"/>
                    </a:cubicBezTo>
                    <a:cubicBezTo>
                      <a:pt x="136" y="0"/>
                      <a:pt x="78" y="52"/>
                      <a:pt x="68" y="120"/>
                    </a:cubicBezTo>
                    <a:cubicBezTo>
                      <a:pt x="29" y="130"/>
                      <a:pt x="0" y="166"/>
                      <a:pt x="0" y="209"/>
                    </a:cubicBezTo>
                    <a:cubicBezTo>
                      <a:pt x="0" y="229"/>
                      <a:pt x="7" y="250"/>
                      <a:pt x="20" y="266"/>
                    </a:cubicBezTo>
                    <a:cubicBezTo>
                      <a:pt x="33" y="283"/>
                      <a:pt x="52" y="295"/>
                      <a:pt x="74" y="295"/>
                    </a:cubicBezTo>
                    <a:cubicBezTo>
                      <a:pt x="350" y="295"/>
                      <a:pt x="350" y="295"/>
                      <a:pt x="350" y="295"/>
                    </a:cubicBezTo>
                    <a:cubicBezTo>
                      <a:pt x="350" y="295"/>
                      <a:pt x="351" y="295"/>
                      <a:pt x="351" y="295"/>
                    </a:cubicBezTo>
                    <a:cubicBezTo>
                      <a:pt x="382" y="295"/>
                      <a:pt x="382" y="295"/>
                      <a:pt x="382" y="295"/>
                    </a:cubicBezTo>
                    <a:cubicBezTo>
                      <a:pt x="382" y="295"/>
                      <a:pt x="382" y="295"/>
                      <a:pt x="382" y="295"/>
                    </a:cubicBezTo>
                    <a:cubicBezTo>
                      <a:pt x="382" y="295"/>
                      <a:pt x="382" y="295"/>
                      <a:pt x="382" y="295"/>
                    </a:cubicBezTo>
                    <a:cubicBezTo>
                      <a:pt x="410" y="295"/>
                      <a:pt x="410" y="295"/>
                      <a:pt x="410" y="295"/>
                    </a:cubicBezTo>
                    <a:cubicBezTo>
                      <a:pt x="430" y="295"/>
                      <a:pt x="446" y="286"/>
                      <a:pt x="457" y="273"/>
                    </a:cubicBezTo>
                    <a:cubicBezTo>
                      <a:pt x="468" y="260"/>
                      <a:pt x="474" y="244"/>
                      <a:pt x="474" y="230"/>
                    </a:cubicBezTo>
                    <a:cubicBezTo>
                      <a:pt x="474" y="211"/>
                      <a:pt x="466" y="194"/>
                      <a:pt x="454" y="18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91436" tIns="45718" rIns="91436" bIns="45718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8585A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30" name="Group 129">
              <a:extLst>
                <a:ext uri="{FF2B5EF4-FFF2-40B4-BE49-F238E27FC236}">
                  <a16:creationId xmlns="" xmlns:a16="http://schemas.microsoft.com/office/drawing/2014/main" id="{4C4802A7-81FE-4BF2-A105-15C2A881F6F5}"/>
                </a:ext>
              </a:extLst>
            </p:cNvPr>
            <p:cNvGrpSpPr/>
            <p:nvPr/>
          </p:nvGrpSpPr>
          <p:grpSpPr>
            <a:xfrm>
              <a:off x="10925619" y="2300681"/>
              <a:ext cx="719503" cy="720244"/>
              <a:chOff x="9989914" y="2181961"/>
              <a:chExt cx="719503" cy="720244"/>
            </a:xfrm>
          </p:grpSpPr>
          <p:sp>
            <p:nvSpPr>
              <p:cNvPr id="131" name="Rounded Rectangle 103">
                <a:extLst>
                  <a:ext uri="{FF2B5EF4-FFF2-40B4-BE49-F238E27FC236}">
                    <a16:creationId xmlns="" xmlns:a16="http://schemas.microsoft.com/office/drawing/2014/main" id="{1E5B6489-A698-47A5-BA2D-0123281FBB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89914" y="2181961"/>
                <a:ext cx="719503" cy="720244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20000"/>
                </a:schemeClr>
              </a:solidFill>
              <a:ln w="2540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71988" tIns="45718" rIns="71988" bIns="45718"/>
              <a:lstStyle>
                <a:lvl1pPr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Ericsson Sans Medium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2" name="Freeform 9">
                <a:extLst>
                  <a:ext uri="{FF2B5EF4-FFF2-40B4-BE49-F238E27FC236}">
                    <a16:creationId xmlns="" xmlns:a16="http://schemas.microsoft.com/office/drawing/2014/main" id="{58E89C8F-A563-4369-A742-262697146FE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0108112" y="2411312"/>
                <a:ext cx="469384" cy="279635"/>
              </a:xfrm>
              <a:custGeom>
                <a:avLst/>
                <a:gdLst>
                  <a:gd name="T0" fmla="*/ 2147483647 w 474"/>
                  <a:gd name="T1" fmla="*/ 2147483647 h 295"/>
                  <a:gd name="T2" fmla="*/ 2147483647 w 474"/>
                  <a:gd name="T3" fmla="*/ 2147483647 h 295"/>
                  <a:gd name="T4" fmla="*/ 2147483647 w 474"/>
                  <a:gd name="T5" fmla="*/ 2147483647 h 295"/>
                  <a:gd name="T6" fmla="*/ 2147483647 w 474"/>
                  <a:gd name="T7" fmla="*/ 2147483647 h 295"/>
                  <a:gd name="T8" fmla="*/ 2147483647 w 474"/>
                  <a:gd name="T9" fmla="*/ 2147483647 h 295"/>
                  <a:gd name="T10" fmla="*/ 2147483647 w 474"/>
                  <a:gd name="T11" fmla="*/ 2147483647 h 295"/>
                  <a:gd name="T12" fmla="*/ 2147483647 w 474"/>
                  <a:gd name="T13" fmla="*/ 2147483647 h 295"/>
                  <a:gd name="T14" fmla="*/ 2147483647 w 474"/>
                  <a:gd name="T15" fmla="*/ 2147483647 h 295"/>
                  <a:gd name="T16" fmla="*/ 2147483647 w 474"/>
                  <a:gd name="T17" fmla="*/ 2147483647 h 295"/>
                  <a:gd name="T18" fmla="*/ 2147483647 w 474"/>
                  <a:gd name="T19" fmla="*/ 2147483647 h 295"/>
                  <a:gd name="T20" fmla="*/ 2147483647 w 474"/>
                  <a:gd name="T21" fmla="*/ 2147483647 h 295"/>
                  <a:gd name="T22" fmla="*/ 2147483647 w 474"/>
                  <a:gd name="T23" fmla="*/ 2147483647 h 295"/>
                  <a:gd name="T24" fmla="*/ 2147483647 w 474"/>
                  <a:gd name="T25" fmla="*/ 2147483647 h 295"/>
                  <a:gd name="T26" fmla="*/ 2147483647 w 474"/>
                  <a:gd name="T27" fmla="*/ 2147483647 h 295"/>
                  <a:gd name="T28" fmla="*/ 2147483647 w 474"/>
                  <a:gd name="T29" fmla="*/ 2147483647 h 295"/>
                  <a:gd name="T30" fmla="*/ 2147483647 w 474"/>
                  <a:gd name="T31" fmla="*/ 2147483647 h 295"/>
                  <a:gd name="T32" fmla="*/ 2147483647 w 474"/>
                  <a:gd name="T33" fmla="*/ 2147483647 h 295"/>
                  <a:gd name="T34" fmla="*/ 2147483647 w 474"/>
                  <a:gd name="T35" fmla="*/ 2147483647 h 295"/>
                  <a:gd name="T36" fmla="*/ 2147483647 w 474"/>
                  <a:gd name="T37" fmla="*/ 2147483647 h 295"/>
                  <a:gd name="T38" fmla="*/ 2147483647 w 474"/>
                  <a:gd name="T39" fmla="*/ 2147483647 h 295"/>
                  <a:gd name="T40" fmla="*/ 2147483647 w 474"/>
                  <a:gd name="T41" fmla="*/ 2147483647 h 295"/>
                  <a:gd name="T42" fmla="*/ 2147483647 w 474"/>
                  <a:gd name="T43" fmla="*/ 2147483647 h 295"/>
                  <a:gd name="T44" fmla="*/ 2147483647 w 474"/>
                  <a:gd name="T45" fmla="*/ 2147483647 h 295"/>
                  <a:gd name="T46" fmla="*/ 2147483647 w 474"/>
                  <a:gd name="T47" fmla="*/ 2147483647 h 295"/>
                  <a:gd name="T48" fmla="*/ 2147483647 w 474"/>
                  <a:gd name="T49" fmla="*/ 2147483647 h 295"/>
                  <a:gd name="T50" fmla="*/ 2147483647 w 474"/>
                  <a:gd name="T51" fmla="*/ 2147483647 h 295"/>
                  <a:gd name="T52" fmla="*/ 2147483647 w 474"/>
                  <a:gd name="T53" fmla="*/ 2147483647 h 295"/>
                  <a:gd name="T54" fmla="*/ 2147483647 w 474"/>
                  <a:gd name="T55" fmla="*/ 2147483647 h 295"/>
                  <a:gd name="T56" fmla="*/ 2147483647 w 474"/>
                  <a:gd name="T57" fmla="*/ 2147483647 h 295"/>
                  <a:gd name="T58" fmla="*/ 2147483647 w 474"/>
                  <a:gd name="T59" fmla="*/ 0 h 295"/>
                  <a:gd name="T60" fmla="*/ 2147483647 w 474"/>
                  <a:gd name="T61" fmla="*/ 2147483647 h 295"/>
                  <a:gd name="T62" fmla="*/ 0 w 474"/>
                  <a:gd name="T63" fmla="*/ 2147483647 h 295"/>
                  <a:gd name="T64" fmla="*/ 2147483647 w 474"/>
                  <a:gd name="T65" fmla="*/ 2147483647 h 295"/>
                  <a:gd name="T66" fmla="*/ 2147483647 w 474"/>
                  <a:gd name="T67" fmla="*/ 2147483647 h 295"/>
                  <a:gd name="T68" fmla="*/ 2147483647 w 474"/>
                  <a:gd name="T69" fmla="*/ 2147483647 h 295"/>
                  <a:gd name="T70" fmla="*/ 2147483647 w 474"/>
                  <a:gd name="T71" fmla="*/ 2147483647 h 295"/>
                  <a:gd name="T72" fmla="*/ 2147483647 w 474"/>
                  <a:gd name="T73" fmla="*/ 2147483647 h 295"/>
                  <a:gd name="T74" fmla="*/ 2147483647 w 474"/>
                  <a:gd name="T75" fmla="*/ 2147483647 h 295"/>
                  <a:gd name="T76" fmla="*/ 2147483647 w 474"/>
                  <a:gd name="T77" fmla="*/ 2147483647 h 295"/>
                  <a:gd name="T78" fmla="*/ 2147483647 w 474"/>
                  <a:gd name="T79" fmla="*/ 2147483647 h 295"/>
                  <a:gd name="T80" fmla="*/ 2147483647 w 474"/>
                  <a:gd name="T81" fmla="*/ 2147483647 h 295"/>
                  <a:gd name="T82" fmla="*/ 2147483647 w 474"/>
                  <a:gd name="T83" fmla="*/ 2147483647 h 295"/>
                  <a:gd name="T84" fmla="*/ 2147483647 w 474"/>
                  <a:gd name="T85" fmla="*/ 2147483647 h 29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474" h="295">
                    <a:moveTo>
                      <a:pt x="454" y="182"/>
                    </a:moveTo>
                    <a:cubicBezTo>
                      <a:pt x="461" y="168"/>
                      <a:pt x="466" y="153"/>
                      <a:pt x="466" y="136"/>
                    </a:cubicBezTo>
                    <a:cubicBezTo>
                      <a:pt x="466" y="106"/>
                      <a:pt x="452" y="80"/>
                      <a:pt x="432" y="61"/>
                    </a:cubicBezTo>
                    <a:cubicBezTo>
                      <a:pt x="428" y="58"/>
                      <a:pt x="423" y="59"/>
                      <a:pt x="420" y="63"/>
                    </a:cubicBezTo>
                    <a:cubicBezTo>
                      <a:pt x="418" y="66"/>
                      <a:pt x="418" y="71"/>
                      <a:pt x="422" y="74"/>
                    </a:cubicBezTo>
                    <a:cubicBezTo>
                      <a:pt x="422" y="74"/>
                      <a:pt x="422" y="74"/>
                      <a:pt x="422" y="74"/>
                    </a:cubicBezTo>
                    <a:cubicBezTo>
                      <a:pt x="439" y="90"/>
                      <a:pt x="450" y="112"/>
                      <a:pt x="450" y="136"/>
                    </a:cubicBezTo>
                    <a:cubicBezTo>
                      <a:pt x="450" y="152"/>
                      <a:pt x="445" y="167"/>
                      <a:pt x="437" y="179"/>
                    </a:cubicBezTo>
                    <a:cubicBezTo>
                      <a:pt x="435" y="183"/>
                      <a:pt x="436" y="187"/>
                      <a:pt x="439" y="189"/>
                    </a:cubicBezTo>
                    <a:cubicBezTo>
                      <a:pt x="450" y="200"/>
                      <a:pt x="458" y="214"/>
                      <a:pt x="458" y="230"/>
                    </a:cubicBezTo>
                    <a:cubicBezTo>
                      <a:pt x="458" y="240"/>
                      <a:pt x="453" y="253"/>
                      <a:pt x="445" y="262"/>
                    </a:cubicBezTo>
                    <a:cubicBezTo>
                      <a:pt x="436" y="272"/>
                      <a:pt x="424" y="279"/>
                      <a:pt x="410" y="279"/>
                    </a:cubicBezTo>
                    <a:cubicBezTo>
                      <a:pt x="350" y="279"/>
                      <a:pt x="350" y="279"/>
                      <a:pt x="350" y="279"/>
                    </a:cubicBezTo>
                    <a:cubicBezTo>
                      <a:pt x="74" y="279"/>
                      <a:pt x="74" y="279"/>
                      <a:pt x="74" y="279"/>
                    </a:cubicBezTo>
                    <a:cubicBezTo>
                      <a:pt x="58" y="279"/>
                      <a:pt x="44" y="270"/>
                      <a:pt x="33" y="256"/>
                    </a:cubicBezTo>
                    <a:cubicBezTo>
                      <a:pt x="22" y="243"/>
                      <a:pt x="16" y="225"/>
                      <a:pt x="16" y="209"/>
                    </a:cubicBezTo>
                    <a:cubicBezTo>
                      <a:pt x="16" y="172"/>
                      <a:pt x="42" y="141"/>
                      <a:pt x="77" y="134"/>
                    </a:cubicBezTo>
                    <a:cubicBezTo>
                      <a:pt x="81" y="133"/>
                      <a:pt x="83" y="130"/>
                      <a:pt x="84" y="127"/>
                    </a:cubicBezTo>
                    <a:cubicBezTo>
                      <a:pt x="90" y="65"/>
                      <a:pt x="142" y="16"/>
                      <a:pt x="206" y="16"/>
                    </a:cubicBezTo>
                    <a:cubicBezTo>
                      <a:pt x="247" y="16"/>
                      <a:pt x="282" y="36"/>
                      <a:pt x="305" y="66"/>
                    </a:cubicBezTo>
                    <a:cubicBezTo>
                      <a:pt x="308" y="70"/>
                      <a:pt x="313" y="70"/>
                      <a:pt x="316" y="68"/>
                    </a:cubicBezTo>
                    <a:cubicBezTo>
                      <a:pt x="330" y="58"/>
                      <a:pt x="347" y="52"/>
                      <a:pt x="365" y="52"/>
                    </a:cubicBezTo>
                    <a:cubicBezTo>
                      <a:pt x="376" y="52"/>
                      <a:pt x="386" y="54"/>
                      <a:pt x="395" y="57"/>
                    </a:cubicBezTo>
                    <a:cubicBezTo>
                      <a:pt x="395" y="57"/>
                      <a:pt x="396" y="58"/>
                      <a:pt x="396" y="58"/>
                    </a:cubicBezTo>
                    <a:cubicBezTo>
                      <a:pt x="400" y="59"/>
                      <a:pt x="405" y="58"/>
                      <a:pt x="406" y="54"/>
                    </a:cubicBezTo>
                    <a:cubicBezTo>
                      <a:pt x="407" y="52"/>
                      <a:pt x="407" y="51"/>
                      <a:pt x="407" y="49"/>
                    </a:cubicBezTo>
                    <a:cubicBezTo>
                      <a:pt x="407" y="47"/>
                      <a:pt x="405" y="44"/>
                      <a:pt x="403" y="43"/>
                    </a:cubicBezTo>
                    <a:cubicBezTo>
                      <a:pt x="391" y="38"/>
                      <a:pt x="378" y="36"/>
                      <a:pt x="365" y="36"/>
                    </a:cubicBezTo>
                    <a:cubicBezTo>
                      <a:pt x="346" y="36"/>
                      <a:pt x="328" y="41"/>
                      <a:pt x="313" y="51"/>
                    </a:cubicBezTo>
                    <a:cubicBezTo>
                      <a:pt x="288" y="20"/>
                      <a:pt x="249" y="0"/>
                      <a:pt x="206" y="0"/>
                    </a:cubicBezTo>
                    <a:cubicBezTo>
                      <a:pt x="136" y="0"/>
                      <a:pt x="78" y="52"/>
                      <a:pt x="68" y="120"/>
                    </a:cubicBezTo>
                    <a:cubicBezTo>
                      <a:pt x="29" y="130"/>
                      <a:pt x="0" y="166"/>
                      <a:pt x="0" y="209"/>
                    </a:cubicBezTo>
                    <a:cubicBezTo>
                      <a:pt x="0" y="229"/>
                      <a:pt x="7" y="250"/>
                      <a:pt x="20" y="266"/>
                    </a:cubicBezTo>
                    <a:cubicBezTo>
                      <a:pt x="33" y="283"/>
                      <a:pt x="52" y="295"/>
                      <a:pt x="74" y="295"/>
                    </a:cubicBezTo>
                    <a:cubicBezTo>
                      <a:pt x="350" y="295"/>
                      <a:pt x="350" y="295"/>
                      <a:pt x="350" y="295"/>
                    </a:cubicBezTo>
                    <a:cubicBezTo>
                      <a:pt x="350" y="295"/>
                      <a:pt x="351" y="295"/>
                      <a:pt x="351" y="295"/>
                    </a:cubicBezTo>
                    <a:cubicBezTo>
                      <a:pt x="382" y="295"/>
                      <a:pt x="382" y="295"/>
                      <a:pt x="382" y="295"/>
                    </a:cubicBezTo>
                    <a:cubicBezTo>
                      <a:pt x="382" y="295"/>
                      <a:pt x="382" y="295"/>
                      <a:pt x="382" y="295"/>
                    </a:cubicBezTo>
                    <a:cubicBezTo>
                      <a:pt x="382" y="295"/>
                      <a:pt x="382" y="295"/>
                      <a:pt x="382" y="295"/>
                    </a:cubicBezTo>
                    <a:cubicBezTo>
                      <a:pt x="410" y="295"/>
                      <a:pt x="410" y="295"/>
                      <a:pt x="410" y="295"/>
                    </a:cubicBezTo>
                    <a:cubicBezTo>
                      <a:pt x="430" y="295"/>
                      <a:pt x="446" y="286"/>
                      <a:pt x="457" y="273"/>
                    </a:cubicBezTo>
                    <a:cubicBezTo>
                      <a:pt x="468" y="260"/>
                      <a:pt x="474" y="244"/>
                      <a:pt x="474" y="230"/>
                    </a:cubicBezTo>
                    <a:cubicBezTo>
                      <a:pt x="474" y="211"/>
                      <a:pt x="466" y="194"/>
                      <a:pt x="454" y="18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91436" tIns="45718" rIns="91436" bIns="45718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8585A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33" name="Group 132">
              <a:extLst>
                <a:ext uri="{FF2B5EF4-FFF2-40B4-BE49-F238E27FC236}">
                  <a16:creationId xmlns="" xmlns:a16="http://schemas.microsoft.com/office/drawing/2014/main" id="{FE36881E-E968-4A88-9276-1C4F338AE2C5}"/>
                </a:ext>
              </a:extLst>
            </p:cNvPr>
            <p:cNvGrpSpPr/>
            <p:nvPr/>
          </p:nvGrpSpPr>
          <p:grpSpPr>
            <a:xfrm>
              <a:off x="10957969" y="3125562"/>
              <a:ext cx="719503" cy="720244"/>
              <a:chOff x="9989914" y="2181961"/>
              <a:chExt cx="719503" cy="720244"/>
            </a:xfrm>
          </p:grpSpPr>
          <p:sp>
            <p:nvSpPr>
              <p:cNvPr id="134" name="Rounded Rectangle 103">
                <a:extLst>
                  <a:ext uri="{FF2B5EF4-FFF2-40B4-BE49-F238E27FC236}">
                    <a16:creationId xmlns="" xmlns:a16="http://schemas.microsoft.com/office/drawing/2014/main" id="{EB6D68D2-0DF5-4E3F-8078-30A2A2D226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89914" y="2181961"/>
                <a:ext cx="719503" cy="720244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20000"/>
                </a:schemeClr>
              </a:solidFill>
              <a:ln w="2540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71988" tIns="45718" rIns="71988" bIns="45718"/>
              <a:lstStyle>
                <a:lvl1pPr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Ericsson Sans Medium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5" name="Freeform 9">
                <a:extLst>
                  <a:ext uri="{FF2B5EF4-FFF2-40B4-BE49-F238E27FC236}">
                    <a16:creationId xmlns="" xmlns:a16="http://schemas.microsoft.com/office/drawing/2014/main" id="{9B73680E-237D-437E-B010-C40FE5DC30A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0108112" y="2411312"/>
                <a:ext cx="469384" cy="279635"/>
              </a:xfrm>
              <a:custGeom>
                <a:avLst/>
                <a:gdLst>
                  <a:gd name="T0" fmla="*/ 2147483647 w 474"/>
                  <a:gd name="T1" fmla="*/ 2147483647 h 295"/>
                  <a:gd name="T2" fmla="*/ 2147483647 w 474"/>
                  <a:gd name="T3" fmla="*/ 2147483647 h 295"/>
                  <a:gd name="T4" fmla="*/ 2147483647 w 474"/>
                  <a:gd name="T5" fmla="*/ 2147483647 h 295"/>
                  <a:gd name="T6" fmla="*/ 2147483647 w 474"/>
                  <a:gd name="T7" fmla="*/ 2147483647 h 295"/>
                  <a:gd name="T8" fmla="*/ 2147483647 w 474"/>
                  <a:gd name="T9" fmla="*/ 2147483647 h 295"/>
                  <a:gd name="T10" fmla="*/ 2147483647 w 474"/>
                  <a:gd name="T11" fmla="*/ 2147483647 h 295"/>
                  <a:gd name="T12" fmla="*/ 2147483647 w 474"/>
                  <a:gd name="T13" fmla="*/ 2147483647 h 295"/>
                  <a:gd name="T14" fmla="*/ 2147483647 w 474"/>
                  <a:gd name="T15" fmla="*/ 2147483647 h 295"/>
                  <a:gd name="T16" fmla="*/ 2147483647 w 474"/>
                  <a:gd name="T17" fmla="*/ 2147483647 h 295"/>
                  <a:gd name="T18" fmla="*/ 2147483647 w 474"/>
                  <a:gd name="T19" fmla="*/ 2147483647 h 295"/>
                  <a:gd name="T20" fmla="*/ 2147483647 w 474"/>
                  <a:gd name="T21" fmla="*/ 2147483647 h 295"/>
                  <a:gd name="T22" fmla="*/ 2147483647 w 474"/>
                  <a:gd name="T23" fmla="*/ 2147483647 h 295"/>
                  <a:gd name="T24" fmla="*/ 2147483647 w 474"/>
                  <a:gd name="T25" fmla="*/ 2147483647 h 295"/>
                  <a:gd name="T26" fmla="*/ 2147483647 w 474"/>
                  <a:gd name="T27" fmla="*/ 2147483647 h 295"/>
                  <a:gd name="T28" fmla="*/ 2147483647 w 474"/>
                  <a:gd name="T29" fmla="*/ 2147483647 h 295"/>
                  <a:gd name="T30" fmla="*/ 2147483647 w 474"/>
                  <a:gd name="T31" fmla="*/ 2147483647 h 295"/>
                  <a:gd name="T32" fmla="*/ 2147483647 w 474"/>
                  <a:gd name="T33" fmla="*/ 2147483647 h 295"/>
                  <a:gd name="T34" fmla="*/ 2147483647 w 474"/>
                  <a:gd name="T35" fmla="*/ 2147483647 h 295"/>
                  <a:gd name="T36" fmla="*/ 2147483647 w 474"/>
                  <a:gd name="T37" fmla="*/ 2147483647 h 295"/>
                  <a:gd name="T38" fmla="*/ 2147483647 w 474"/>
                  <a:gd name="T39" fmla="*/ 2147483647 h 295"/>
                  <a:gd name="T40" fmla="*/ 2147483647 w 474"/>
                  <a:gd name="T41" fmla="*/ 2147483647 h 295"/>
                  <a:gd name="T42" fmla="*/ 2147483647 w 474"/>
                  <a:gd name="T43" fmla="*/ 2147483647 h 295"/>
                  <a:gd name="T44" fmla="*/ 2147483647 w 474"/>
                  <a:gd name="T45" fmla="*/ 2147483647 h 295"/>
                  <a:gd name="T46" fmla="*/ 2147483647 w 474"/>
                  <a:gd name="T47" fmla="*/ 2147483647 h 295"/>
                  <a:gd name="T48" fmla="*/ 2147483647 w 474"/>
                  <a:gd name="T49" fmla="*/ 2147483647 h 295"/>
                  <a:gd name="T50" fmla="*/ 2147483647 w 474"/>
                  <a:gd name="T51" fmla="*/ 2147483647 h 295"/>
                  <a:gd name="T52" fmla="*/ 2147483647 w 474"/>
                  <a:gd name="T53" fmla="*/ 2147483647 h 295"/>
                  <a:gd name="T54" fmla="*/ 2147483647 w 474"/>
                  <a:gd name="T55" fmla="*/ 2147483647 h 295"/>
                  <a:gd name="T56" fmla="*/ 2147483647 w 474"/>
                  <a:gd name="T57" fmla="*/ 2147483647 h 295"/>
                  <a:gd name="T58" fmla="*/ 2147483647 w 474"/>
                  <a:gd name="T59" fmla="*/ 0 h 295"/>
                  <a:gd name="T60" fmla="*/ 2147483647 w 474"/>
                  <a:gd name="T61" fmla="*/ 2147483647 h 295"/>
                  <a:gd name="T62" fmla="*/ 0 w 474"/>
                  <a:gd name="T63" fmla="*/ 2147483647 h 295"/>
                  <a:gd name="T64" fmla="*/ 2147483647 w 474"/>
                  <a:gd name="T65" fmla="*/ 2147483647 h 295"/>
                  <a:gd name="T66" fmla="*/ 2147483647 w 474"/>
                  <a:gd name="T67" fmla="*/ 2147483647 h 295"/>
                  <a:gd name="T68" fmla="*/ 2147483647 w 474"/>
                  <a:gd name="T69" fmla="*/ 2147483647 h 295"/>
                  <a:gd name="T70" fmla="*/ 2147483647 w 474"/>
                  <a:gd name="T71" fmla="*/ 2147483647 h 295"/>
                  <a:gd name="T72" fmla="*/ 2147483647 w 474"/>
                  <a:gd name="T73" fmla="*/ 2147483647 h 295"/>
                  <a:gd name="T74" fmla="*/ 2147483647 w 474"/>
                  <a:gd name="T75" fmla="*/ 2147483647 h 295"/>
                  <a:gd name="T76" fmla="*/ 2147483647 w 474"/>
                  <a:gd name="T77" fmla="*/ 2147483647 h 295"/>
                  <a:gd name="T78" fmla="*/ 2147483647 w 474"/>
                  <a:gd name="T79" fmla="*/ 2147483647 h 295"/>
                  <a:gd name="T80" fmla="*/ 2147483647 w 474"/>
                  <a:gd name="T81" fmla="*/ 2147483647 h 295"/>
                  <a:gd name="T82" fmla="*/ 2147483647 w 474"/>
                  <a:gd name="T83" fmla="*/ 2147483647 h 295"/>
                  <a:gd name="T84" fmla="*/ 2147483647 w 474"/>
                  <a:gd name="T85" fmla="*/ 2147483647 h 29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474" h="295">
                    <a:moveTo>
                      <a:pt x="454" y="182"/>
                    </a:moveTo>
                    <a:cubicBezTo>
                      <a:pt x="461" y="168"/>
                      <a:pt x="466" y="153"/>
                      <a:pt x="466" y="136"/>
                    </a:cubicBezTo>
                    <a:cubicBezTo>
                      <a:pt x="466" y="106"/>
                      <a:pt x="452" y="80"/>
                      <a:pt x="432" y="61"/>
                    </a:cubicBezTo>
                    <a:cubicBezTo>
                      <a:pt x="428" y="58"/>
                      <a:pt x="423" y="59"/>
                      <a:pt x="420" y="63"/>
                    </a:cubicBezTo>
                    <a:cubicBezTo>
                      <a:pt x="418" y="66"/>
                      <a:pt x="418" y="71"/>
                      <a:pt x="422" y="74"/>
                    </a:cubicBezTo>
                    <a:cubicBezTo>
                      <a:pt x="422" y="74"/>
                      <a:pt x="422" y="74"/>
                      <a:pt x="422" y="74"/>
                    </a:cubicBezTo>
                    <a:cubicBezTo>
                      <a:pt x="439" y="90"/>
                      <a:pt x="450" y="112"/>
                      <a:pt x="450" y="136"/>
                    </a:cubicBezTo>
                    <a:cubicBezTo>
                      <a:pt x="450" y="152"/>
                      <a:pt x="445" y="167"/>
                      <a:pt x="437" y="179"/>
                    </a:cubicBezTo>
                    <a:cubicBezTo>
                      <a:pt x="435" y="183"/>
                      <a:pt x="436" y="187"/>
                      <a:pt x="439" y="189"/>
                    </a:cubicBezTo>
                    <a:cubicBezTo>
                      <a:pt x="450" y="200"/>
                      <a:pt x="458" y="214"/>
                      <a:pt x="458" y="230"/>
                    </a:cubicBezTo>
                    <a:cubicBezTo>
                      <a:pt x="458" y="240"/>
                      <a:pt x="453" y="253"/>
                      <a:pt x="445" y="262"/>
                    </a:cubicBezTo>
                    <a:cubicBezTo>
                      <a:pt x="436" y="272"/>
                      <a:pt x="424" y="279"/>
                      <a:pt x="410" y="279"/>
                    </a:cubicBezTo>
                    <a:cubicBezTo>
                      <a:pt x="350" y="279"/>
                      <a:pt x="350" y="279"/>
                      <a:pt x="350" y="279"/>
                    </a:cubicBezTo>
                    <a:cubicBezTo>
                      <a:pt x="74" y="279"/>
                      <a:pt x="74" y="279"/>
                      <a:pt x="74" y="279"/>
                    </a:cubicBezTo>
                    <a:cubicBezTo>
                      <a:pt x="58" y="279"/>
                      <a:pt x="44" y="270"/>
                      <a:pt x="33" y="256"/>
                    </a:cubicBezTo>
                    <a:cubicBezTo>
                      <a:pt x="22" y="243"/>
                      <a:pt x="16" y="225"/>
                      <a:pt x="16" y="209"/>
                    </a:cubicBezTo>
                    <a:cubicBezTo>
                      <a:pt x="16" y="172"/>
                      <a:pt x="42" y="141"/>
                      <a:pt x="77" y="134"/>
                    </a:cubicBezTo>
                    <a:cubicBezTo>
                      <a:pt x="81" y="133"/>
                      <a:pt x="83" y="130"/>
                      <a:pt x="84" y="127"/>
                    </a:cubicBezTo>
                    <a:cubicBezTo>
                      <a:pt x="90" y="65"/>
                      <a:pt x="142" y="16"/>
                      <a:pt x="206" y="16"/>
                    </a:cubicBezTo>
                    <a:cubicBezTo>
                      <a:pt x="247" y="16"/>
                      <a:pt x="282" y="36"/>
                      <a:pt x="305" y="66"/>
                    </a:cubicBezTo>
                    <a:cubicBezTo>
                      <a:pt x="308" y="70"/>
                      <a:pt x="313" y="70"/>
                      <a:pt x="316" y="68"/>
                    </a:cubicBezTo>
                    <a:cubicBezTo>
                      <a:pt x="330" y="58"/>
                      <a:pt x="347" y="52"/>
                      <a:pt x="365" y="52"/>
                    </a:cubicBezTo>
                    <a:cubicBezTo>
                      <a:pt x="376" y="52"/>
                      <a:pt x="386" y="54"/>
                      <a:pt x="395" y="57"/>
                    </a:cubicBezTo>
                    <a:cubicBezTo>
                      <a:pt x="395" y="57"/>
                      <a:pt x="396" y="58"/>
                      <a:pt x="396" y="58"/>
                    </a:cubicBezTo>
                    <a:cubicBezTo>
                      <a:pt x="400" y="59"/>
                      <a:pt x="405" y="58"/>
                      <a:pt x="406" y="54"/>
                    </a:cubicBezTo>
                    <a:cubicBezTo>
                      <a:pt x="407" y="52"/>
                      <a:pt x="407" y="51"/>
                      <a:pt x="407" y="49"/>
                    </a:cubicBezTo>
                    <a:cubicBezTo>
                      <a:pt x="407" y="47"/>
                      <a:pt x="405" y="44"/>
                      <a:pt x="403" y="43"/>
                    </a:cubicBezTo>
                    <a:cubicBezTo>
                      <a:pt x="391" y="38"/>
                      <a:pt x="378" y="36"/>
                      <a:pt x="365" y="36"/>
                    </a:cubicBezTo>
                    <a:cubicBezTo>
                      <a:pt x="346" y="36"/>
                      <a:pt x="328" y="41"/>
                      <a:pt x="313" y="51"/>
                    </a:cubicBezTo>
                    <a:cubicBezTo>
                      <a:pt x="288" y="20"/>
                      <a:pt x="249" y="0"/>
                      <a:pt x="206" y="0"/>
                    </a:cubicBezTo>
                    <a:cubicBezTo>
                      <a:pt x="136" y="0"/>
                      <a:pt x="78" y="52"/>
                      <a:pt x="68" y="120"/>
                    </a:cubicBezTo>
                    <a:cubicBezTo>
                      <a:pt x="29" y="130"/>
                      <a:pt x="0" y="166"/>
                      <a:pt x="0" y="209"/>
                    </a:cubicBezTo>
                    <a:cubicBezTo>
                      <a:pt x="0" y="229"/>
                      <a:pt x="7" y="250"/>
                      <a:pt x="20" y="266"/>
                    </a:cubicBezTo>
                    <a:cubicBezTo>
                      <a:pt x="33" y="283"/>
                      <a:pt x="52" y="295"/>
                      <a:pt x="74" y="295"/>
                    </a:cubicBezTo>
                    <a:cubicBezTo>
                      <a:pt x="350" y="295"/>
                      <a:pt x="350" y="295"/>
                      <a:pt x="350" y="295"/>
                    </a:cubicBezTo>
                    <a:cubicBezTo>
                      <a:pt x="350" y="295"/>
                      <a:pt x="351" y="295"/>
                      <a:pt x="351" y="295"/>
                    </a:cubicBezTo>
                    <a:cubicBezTo>
                      <a:pt x="382" y="295"/>
                      <a:pt x="382" y="295"/>
                      <a:pt x="382" y="295"/>
                    </a:cubicBezTo>
                    <a:cubicBezTo>
                      <a:pt x="382" y="295"/>
                      <a:pt x="382" y="295"/>
                      <a:pt x="382" y="295"/>
                    </a:cubicBezTo>
                    <a:cubicBezTo>
                      <a:pt x="382" y="295"/>
                      <a:pt x="382" y="295"/>
                      <a:pt x="382" y="295"/>
                    </a:cubicBezTo>
                    <a:cubicBezTo>
                      <a:pt x="410" y="295"/>
                      <a:pt x="410" y="295"/>
                      <a:pt x="410" y="295"/>
                    </a:cubicBezTo>
                    <a:cubicBezTo>
                      <a:pt x="430" y="295"/>
                      <a:pt x="446" y="286"/>
                      <a:pt x="457" y="273"/>
                    </a:cubicBezTo>
                    <a:cubicBezTo>
                      <a:pt x="468" y="260"/>
                      <a:pt x="474" y="244"/>
                      <a:pt x="474" y="230"/>
                    </a:cubicBezTo>
                    <a:cubicBezTo>
                      <a:pt x="474" y="211"/>
                      <a:pt x="466" y="194"/>
                      <a:pt x="454" y="18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91436" tIns="45718" rIns="91436" bIns="45718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8585A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="" xmlns:a16="http://schemas.microsoft.com/office/drawing/2014/main" id="{275CFD75-0643-42D2-A11E-AFBBCD0C5790}"/>
                </a:ext>
              </a:extLst>
            </p:cNvPr>
            <p:cNvGrpSpPr/>
            <p:nvPr/>
          </p:nvGrpSpPr>
          <p:grpSpPr>
            <a:xfrm>
              <a:off x="10962205" y="4002131"/>
              <a:ext cx="719503" cy="720244"/>
              <a:chOff x="9989914" y="2181961"/>
              <a:chExt cx="719503" cy="720244"/>
            </a:xfrm>
          </p:grpSpPr>
          <p:sp>
            <p:nvSpPr>
              <p:cNvPr id="137" name="Rounded Rectangle 103">
                <a:extLst>
                  <a:ext uri="{FF2B5EF4-FFF2-40B4-BE49-F238E27FC236}">
                    <a16:creationId xmlns="" xmlns:a16="http://schemas.microsoft.com/office/drawing/2014/main" id="{4BDD68AC-C6A6-4AFA-B77B-02085A19318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89914" y="2181961"/>
                <a:ext cx="719503" cy="720244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20000"/>
                </a:schemeClr>
              </a:solidFill>
              <a:ln w="2540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71988" tIns="45718" rIns="71988" bIns="45718"/>
              <a:lstStyle>
                <a:lvl1pPr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Ericsson Sans Medium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8" name="Freeform 9">
                <a:extLst>
                  <a:ext uri="{FF2B5EF4-FFF2-40B4-BE49-F238E27FC236}">
                    <a16:creationId xmlns="" xmlns:a16="http://schemas.microsoft.com/office/drawing/2014/main" id="{360858A7-34EB-4F84-86E7-EFA9F46527A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0108112" y="2411312"/>
                <a:ext cx="469384" cy="279635"/>
              </a:xfrm>
              <a:custGeom>
                <a:avLst/>
                <a:gdLst>
                  <a:gd name="T0" fmla="*/ 2147483647 w 474"/>
                  <a:gd name="T1" fmla="*/ 2147483647 h 295"/>
                  <a:gd name="T2" fmla="*/ 2147483647 w 474"/>
                  <a:gd name="T3" fmla="*/ 2147483647 h 295"/>
                  <a:gd name="T4" fmla="*/ 2147483647 w 474"/>
                  <a:gd name="T5" fmla="*/ 2147483647 h 295"/>
                  <a:gd name="T6" fmla="*/ 2147483647 w 474"/>
                  <a:gd name="T7" fmla="*/ 2147483647 h 295"/>
                  <a:gd name="T8" fmla="*/ 2147483647 w 474"/>
                  <a:gd name="T9" fmla="*/ 2147483647 h 295"/>
                  <a:gd name="T10" fmla="*/ 2147483647 w 474"/>
                  <a:gd name="T11" fmla="*/ 2147483647 h 295"/>
                  <a:gd name="T12" fmla="*/ 2147483647 w 474"/>
                  <a:gd name="T13" fmla="*/ 2147483647 h 295"/>
                  <a:gd name="T14" fmla="*/ 2147483647 w 474"/>
                  <a:gd name="T15" fmla="*/ 2147483647 h 295"/>
                  <a:gd name="T16" fmla="*/ 2147483647 w 474"/>
                  <a:gd name="T17" fmla="*/ 2147483647 h 295"/>
                  <a:gd name="T18" fmla="*/ 2147483647 w 474"/>
                  <a:gd name="T19" fmla="*/ 2147483647 h 295"/>
                  <a:gd name="T20" fmla="*/ 2147483647 w 474"/>
                  <a:gd name="T21" fmla="*/ 2147483647 h 295"/>
                  <a:gd name="T22" fmla="*/ 2147483647 w 474"/>
                  <a:gd name="T23" fmla="*/ 2147483647 h 295"/>
                  <a:gd name="T24" fmla="*/ 2147483647 w 474"/>
                  <a:gd name="T25" fmla="*/ 2147483647 h 295"/>
                  <a:gd name="T26" fmla="*/ 2147483647 w 474"/>
                  <a:gd name="T27" fmla="*/ 2147483647 h 295"/>
                  <a:gd name="T28" fmla="*/ 2147483647 w 474"/>
                  <a:gd name="T29" fmla="*/ 2147483647 h 295"/>
                  <a:gd name="T30" fmla="*/ 2147483647 w 474"/>
                  <a:gd name="T31" fmla="*/ 2147483647 h 295"/>
                  <a:gd name="T32" fmla="*/ 2147483647 w 474"/>
                  <a:gd name="T33" fmla="*/ 2147483647 h 295"/>
                  <a:gd name="T34" fmla="*/ 2147483647 w 474"/>
                  <a:gd name="T35" fmla="*/ 2147483647 h 295"/>
                  <a:gd name="T36" fmla="*/ 2147483647 w 474"/>
                  <a:gd name="T37" fmla="*/ 2147483647 h 295"/>
                  <a:gd name="T38" fmla="*/ 2147483647 w 474"/>
                  <a:gd name="T39" fmla="*/ 2147483647 h 295"/>
                  <a:gd name="T40" fmla="*/ 2147483647 w 474"/>
                  <a:gd name="T41" fmla="*/ 2147483647 h 295"/>
                  <a:gd name="T42" fmla="*/ 2147483647 w 474"/>
                  <a:gd name="T43" fmla="*/ 2147483647 h 295"/>
                  <a:gd name="T44" fmla="*/ 2147483647 w 474"/>
                  <a:gd name="T45" fmla="*/ 2147483647 h 295"/>
                  <a:gd name="T46" fmla="*/ 2147483647 w 474"/>
                  <a:gd name="T47" fmla="*/ 2147483647 h 295"/>
                  <a:gd name="T48" fmla="*/ 2147483647 w 474"/>
                  <a:gd name="T49" fmla="*/ 2147483647 h 295"/>
                  <a:gd name="T50" fmla="*/ 2147483647 w 474"/>
                  <a:gd name="T51" fmla="*/ 2147483647 h 295"/>
                  <a:gd name="T52" fmla="*/ 2147483647 w 474"/>
                  <a:gd name="T53" fmla="*/ 2147483647 h 295"/>
                  <a:gd name="T54" fmla="*/ 2147483647 w 474"/>
                  <a:gd name="T55" fmla="*/ 2147483647 h 295"/>
                  <a:gd name="T56" fmla="*/ 2147483647 w 474"/>
                  <a:gd name="T57" fmla="*/ 2147483647 h 295"/>
                  <a:gd name="T58" fmla="*/ 2147483647 w 474"/>
                  <a:gd name="T59" fmla="*/ 0 h 295"/>
                  <a:gd name="T60" fmla="*/ 2147483647 w 474"/>
                  <a:gd name="T61" fmla="*/ 2147483647 h 295"/>
                  <a:gd name="T62" fmla="*/ 0 w 474"/>
                  <a:gd name="T63" fmla="*/ 2147483647 h 295"/>
                  <a:gd name="T64" fmla="*/ 2147483647 w 474"/>
                  <a:gd name="T65" fmla="*/ 2147483647 h 295"/>
                  <a:gd name="T66" fmla="*/ 2147483647 w 474"/>
                  <a:gd name="T67" fmla="*/ 2147483647 h 295"/>
                  <a:gd name="T68" fmla="*/ 2147483647 w 474"/>
                  <a:gd name="T69" fmla="*/ 2147483647 h 295"/>
                  <a:gd name="T70" fmla="*/ 2147483647 w 474"/>
                  <a:gd name="T71" fmla="*/ 2147483647 h 295"/>
                  <a:gd name="T72" fmla="*/ 2147483647 w 474"/>
                  <a:gd name="T73" fmla="*/ 2147483647 h 295"/>
                  <a:gd name="T74" fmla="*/ 2147483647 w 474"/>
                  <a:gd name="T75" fmla="*/ 2147483647 h 295"/>
                  <a:gd name="T76" fmla="*/ 2147483647 w 474"/>
                  <a:gd name="T77" fmla="*/ 2147483647 h 295"/>
                  <a:gd name="T78" fmla="*/ 2147483647 w 474"/>
                  <a:gd name="T79" fmla="*/ 2147483647 h 295"/>
                  <a:gd name="T80" fmla="*/ 2147483647 w 474"/>
                  <a:gd name="T81" fmla="*/ 2147483647 h 295"/>
                  <a:gd name="T82" fmla="*/ 2147483647 w 474"/>
                  <a:gd name="T83" fmla="*/ 2147483647 h 295"/>
                  <a:gd name="T84" fmla="*/ 2147483647 w 474"/>
                  <a:gd name="T85" fmla="*/ 2147483647 h 29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474" h="295">
                    <a:moveTo>
                      <a:pt x="454" y="182"/>
                    </a:moveTo>
                    <a:cubicBezTo>
                      <a:pt x="461" y="168"/>
                      <a:pt x="466" y="153"/>
                      <a:pt x="466" y="136"/>
                    </a:cubicBezTo>
                    <a:cubicBezTo>
                      <a:pt x="466" y="106"/>
                      <a:pt x="452" y="80"/>
                      <a:pt x="432" y="61"/>
                    </a:cubicBezTo>
                    <a:cubicBezTo>
                      <a:pt x="428" y="58"/>
                      <a:pt x="423" y="59"/>
                      <a:pt x="420" y="63"/>
                    </a:cubicBezTo>
                    <a:cubicBezTo>
                      <a:pt x="418" y="66"/>
                      <a:pt x="418" y="71"/>
                      <a:pt x="422" y="74"/>
                    </a:cubicBezTo>
                    <a:cubicBezTo>
                      <a:pt x="422" y="74"/>
                      <a:pt x="422" y="74"/>
                      <a:pt x="422" y="74"/>
                    </a:cubicBezTo>
                    <a:cubicBezTo>
                      <a:pt x="439" y="90"/>
                      <a:pt x="450" y="112"/>
                      <a:pt x="450" y="136"/>
                    </a:cubicBezTo>
                    <a:cubicBezTo>
                      <a:pt x="450" y="152"/>
                      <a:pt x="445" y="167"/>
                      <a:pt x="437" y="179"/>
                    </a:cubicBezTo>
                    <a:cubicBezTo>
                      <a:pt x="435" y="183"/>
                      <a:pt x="436" y="187"/>
                      <a:pt x="439" y="189"/>
                    </a:cubicBezTo>
                    <a:cubicBezTo>
                      <a:pt x="450" y="200"/>
                      <a:pt x="458" y="214"/>
                      <a:pt x="458" y="230"/>
                    </a:cubicBezTo>
                    <a:cubicBezTo>
                      <a:pt x="458" y="240"/>
                      <a:pt x="453" y="253"/>
                      <a:pt x="445" y="262"/>
                    </a:cubicBezTo>
                    <a:cubicBezTo>
                      <a:pt x="436" y="272"/>
                      <a:pt x="424" y="279"/>
                      <a:pt x="410" y="279"/>
                    </a:cubicBezTo>
                    <a:cubicBezTo>
                      <a:pt x="350" y="279"/>
                      <a:pt x="350" y="279"/>
                      <a:pt x="350" y="279"/>
                    </a:cubicBezTo>
                    <a:cubicBezTo>
                      <a:pt x="74" y="279"/>
                      <a:pt x="74" y="279"/>
                      <a:pt x="74" y="279"/>
                    </a:cubicBezTo>
                    <a:cubicBezTo>
                      <a:pt x="58" y="279"/>
                      <a:pt x="44" y="270"/>
                      <a:pt x="33" y="256"/>
                    </a:cubicBezTo>
                    <a:cubicBezTo>
                      <a:pt x="22" y="243"/>
                      <a:pt x="16" y="225"/>
                      <a:pt x="16" y="209"/>
                    </a:cubicBezTo>
                    <a:cubicBezTo>
                      <a:pt x="16" y="172"/>
                      <a:pt x="42" y="141"/>
                      <a:pt x="77" y="134"/>
                    </a:cubicBezTo>
                    <a:cubicBezTo>
                      <a:pt x="81" y="133"/>
                      <a:pt x="83" y="130"/>
                      <a:pt x="84" y="127"/>
                    </a:cubicBezTo>
                    <a:cubicBezTo>
                      <a:pt x="90" y="65"/>
                      <a:pt x="142" y="16"/>
                      <a:pt x="206" y="16"/>
                    </a:cubicBezTo>
                    <a:cubicBezTo>
                      <a:pt x="247" y="16"/>
                      <a:pt x="282" y="36"/>
                      <a:pt x="305" y="66"/>
                    </a:cubicBezTo>
                    <a:cubicBezTo>
                      <a:pt x="308" y="70"/>
                      <a:pt x="313" y="70"/>
                      <a:pt x="316" y="68"/>
                    </a:cubicBezTo>
                    <a:cubicBezTo>
                      <a:pt x="330" y="58"/>
                      <a:pt x="347" y="52"/>
                      <a:pt x="365" y="52"/>
                    </a:cubicBezTo>
                    <a:cubicBezTo>
                      <a:pt x="376" y="52"/>
                      <a:pt x="386" y="54"/>
                      <a:pt x="395" y="57"/>
                    </a:cubicBezTo>
                    <a:cubicBezTo>
                      <a:pt x="395" y="57"/>
                      <a:pt x="396" y="58"/>
                      <a:pt x="396" y="58"/>
                    </a:cubicBezTo>
                    <a:cubicBezTo>
                      <a:pt x="400" y="59"/>
                      <a:pt x="405" y="58"/>
                      <a:pt x="406" y="54"/>
                    </a:cubicBezTo>
                    <a:cubicBezTo>
                      <a:pt x="407" y="52"/>
                      <a:pt x="407" y="51"/>
                      <a:pt x="407" y="49"/>
                    </a:cubicBezTo>
                    <a:cubicBezTo>
                      <a:pt x="407" y="47"/>
                      <a:pt x="405" y="44"/>
                      <a:pt x="403" y="43"/>
                    </a:cubicBezTo>
                    <a:cubicBezTo>
                      <a:pt x="391" y="38"/>
                      <a:pt x="378" y="36"/>
                      <a:pt x="365" y="36"/>
                    </a:cubicBezTo>
                    <a:cubicBezTo>
                      <a:pt x="346" y="36"/>
                      <a:pt x="328" y="41"/>
                      <a:pt x="313" y="51"/>
                    </a:cubicBezTo>
                    <a:cubicBezTo>
                      <a:pt x="288" y="20"/>
                      <a:pt x="249" y="0"/>
                      <a:pt x="206" y="0"/>
                    </a:cubicBezTo>
                    <a:cubicBezTo>
                      <a:pt x="136" y="0"/>
                      <a:pt x="78" y="52"/>
                      <a:pt x="68" y="120"/>
                    </a:cubicBezTo>
                    <a:cubicBezTo>
                      <a:pt x="29" y="130"/>
                      <a:pt x="0" y="166"/>
                      <a:pt x="0" y="209"/>
                    </a:cubicBezTo>
                    <a:cubicBezTo>
                      <a:pt x="0" y="229"/>
                      <a:pt x="7" y="250"/>
                      <a:pt x="20" y="266"/>
                    </a:cubicBezTo>
                    <a:cubicBezTo>
                      <a:pt x="33" y="283"/>
                      <a:pt x="52" y="295"/>
                      <a:pt x="74" y="295"/>
                    </a:cubicBezTo>
                    <a:cubicBezTo>
                      <a:pt x="350" y="295"/>
                      <a:pt x="350" y="295"/>
                      <a:pt x="350" y="295"/>
                    </a:cubicBezTo>
                    <a:cubicBezTo>
                      <a:pt x="350" y="295"/>
                      <a:pt x="351" y="295"/>
                      <a:pt x="351" y="295"/>
                    </a:cubicBezTo>
                    <a:cubicBezTo>
                      <a:pt x="382" y="295"/>
                      <a:pt x="382" y="295"/>
                      <a:pt x="382" y="295"/>
                    </a:cubicBezTo>
                    <a:cubicBezTo>
                      <a:pt x="382" y="295"/>
                      <a:pt x="382" y="295"/>
                      <a:pt x="382" y="295"/>
                    </a:cubicBezTo>
                    <a:cubicBezTo>
                      <a:pt x="382" y="295"/>
                      <a:pt x="382" y="295"/>
                      <a:pt x="382" y="295"/>
                    </a:cubicBezTo>
                    <a:cubicBezTo>
                      <a:pt x="410" y="295"/>
                      <a:pt x="410" y="295"/>
                      <a:pt x="410" y="295"/>
                    </a:cubicBezTo>
                    <a:cubicBezTo>
                      <a:pt x="430" y="295"/>
                      <a:pt x="446" y="286"/>
                      <a:pt x="457" y="273"/>
                    </a:cubicBezTo>
                    <a:cubicBezTo>
                      <a:pt x="468" y="260"/>
                      <a:pt x="474" y="244"/>
                      <a:pt x="474" y="230"/>
                    </a:cubicBezTo>
                    <a:cubicBezTo>
                      <a:pt x="474" y="211"/>
                      <a:pt x="466" y="194"/>
                      <a:pt x="454" y="18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91436" tIns="45718" rIns="91436" bIns="45718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8585A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39" name="Group 138">
              <a:extLst>
                <a:ext uri="{FF2B5EF4-FFF2-40B4-BE49-F238E27FC236}">
                  <a16:creationId xmlns="" xmlns:a16="http://schemas.microsoft.com/office/drawing/2014/main" id="{9CD1D885-673C-4BAE-AE69-C3D371AAF2FA}"/>
                </a:ext>
              </a:extLst>
            </p:cNvPr>
            <p:cNvGrpSpPr/>
            <p:nvPr/>
          </p:nvGrpSpPr>
          <p:grpSpPr>
            <a:xfrm>
              <a:off x="10976719" y="4853597"/>
              <a:ext cx="719503" cy="720244"/>
              <a:chOff x="9989914" y="2181961"/>
              <a:chExt cx="719503" cy="720244"/>
            </a:xfrm>
          </p:grpSpPr>
          <p:sp>
            <p:nvSpPr>
              <p:cNvPr id="140" name="Rounded Rectangle 103">
                <a:extLst>
                  <a:ext uri="{FF2B5EF4-FFF2-40B4-BE49-F238E27FC236}">
                    <a16:creationId xmlns="" xmlns:a16="http://schemas.microsoft.com/office/drawing/2014/main" id="{029CCA43-52A9-4151-AF62-BDD8B1B5DF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89914" y="2181961"/>
                <a:ext cx="719503" cy="720244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20000"/>
                </a:schemeClr>
              </a:solidFill>
              <a:ln w="2540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71988" tIns="45718" rIns="71988" bIns="45718"/>
              <a:lstStyle>
                <a:lvl1pPr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Ericsson Sans Medium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1" name="Freeform 9">
                <a:extLst>
                  <a:ext uri="{FF2B5EF4-FFF2-40B4-BE49-F238E27FC236}">
                    <a16:creationId xmlns="" xmlns:a16="http://schemas.microsoft.com/office/drawing/2014/main" id="{D5065325-C2CD-48E6-AA75-2A8B5E8E8BB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0108112" y="2411312"/>
                <a:ext cx="469384" cy="279635"/>
              </a:xfrm>
              <a:custGeom>
                <a:avLst/>
                <a:gdLst>
                  <a:gd name="T0" fmla="*/ 2147483647 w 474"/>
                  <a:gd name="T1" fmla="*/ 2147483647 h 295"/>
                  <a:gd name="T2" fmla="*/ 2147483647 w 474"/>
                  <a:gd name="T3" fmla="*/ 2147483647 h 295"/>
                  <a:gd name="T4" fmla="*/ 2147483647 w 474"/>
                  <a:gd name="T5" fmla="*/ 2147483647 h 295"/>
                  <a:gd name="T6" fmla="*/ 2147483647 w 474"/>
                  <a:gd name="T7" fmla="*/ 2147483647 h 295"/>
                  <a:gd name="T8" fmla="*/ 2147483647 w 474"/>
                  <a:gd name="T9" fmla="*/ 2147483647 h 295"/>
                  <a:gd name="T10" fmla="*/ 2147483647 w 474"/>
                  <a:gd name="T11" fmla="*/ 2147483647 h 295"/>
                  <a:gd name="T12" fmla="*/ 2147483647 w 474"/>
                  <a:gd name="T13" fmla="*/ 2147483647 h 295"/>
                  <a:gd name="T14" fmla="*/ 2147483647 w 474"/>
                  <a:gd name="T15" fmla="*/ 2147483647 h 295"/>
                  <a:gd name="T16" fmla="*/ 2147483647 w 474"/>
                  <a:gd name="T17" fmla="*/ 2147483647 h 295"/>
                  <a:gd name="T18" fmla="*/ 2147483647 w 474"/>
                  <a:gd name="T19" fmla="*/ 2147483647 h 295"/>
                  <a:gd name="T20" fmla="*/ 2147483647 w 474"/>
                  <a:gd name="T21" fmla="*/ 2147483647 h 295"/>
                  <a:gd name="T22" fmla="*/ 2147483647 w 474"/>
                  <a:gd name="T23" fmla="*/ 2147483647 h 295"/>
                  <a:gd name="T24" fmla="*/ 2147483647 w 474"/>
                  <a:gd name="T25" fmla="*/ 2147483647 h 295"/>
                  <a:gd name="T26" fmla="*/ 2147483647 w 474"/>
                  <a:gd name="T27" fmla="*/ 2147483647 h 295"/>
                  <a:gd name="T28" fmla="*/ 2147483647 w 474"/>
                  <a:gd name="T29" fmla="*/ 2147483647 h 295"/>
                  <a:gd name="T30" fmla="*/ 2147483647 w 474"/>
                  <a:gd name="T31" fmla="*/ 2147483647 h 295"/>
                  <a:gd name="T32" fmla="*/ 2147483647 w 474"/>
                  <a:gd name="T33" fmla="*/ 2147483647 h 295"/>
                  <a:gd name="T34" fmla="*/ 2147483647 w 474"/>
                  <a:gd name="T35" fmla="*/ 2147483647 h 295"/>
                  <a:gd name="T36" fmla="*/ 2147483647 w 474"/>
                  <a:gd name="T37" fmla="*/ 2147483647 h 295"/>
                  <a:gd name="T38" fmla="*/ 2147483647 w 474"/>
                  <a:gd name="T39" fmla="*/ 2147483647 h 295"/>
                  <a:gd name="T40" fmla="*/ 2147483647 w 474"/>
                  <a:gd name="T41" fmla="*/ 2147483647 h 295"/>
                  <a:gd name="T42" fmla="*/ 2147483647 w 474"/>
                  <a:gd name="T43" fmla="*/ 2147483647 h 295"/>
                  <a:gd name="T44" fmla="*/ 2147483647 w 474"/>
                  <a:gd name="T45" fmla="*/ 2147483647 h 295"/>
                  <a:gd name="T46" fmla="*/ 2147483647 w 474"/>
                  <a:gd name="T47" fmla="*/ 2147483647 h 295"/>
                  <a:gd name="T48" fmla="*/ 2147483647 w 474"/>
                  <a:gd name="T49" fmla="*/ 2147483647 h 295"/>
                  <a:gd name="T50" fmla="*/ 2147483647 w 474"/>
                  <a:gd name="T51" fmla="*/ 2147483647 h 295"/>
                  <a:gd name="T52" fmla="*/ 2147483647 w 474"/>
                  <a:gd name="T53" fmla="*/ 2147483647 h 295"/>
                  <a:gd name="T54" fmla="*/ 2147483647 w 474"/>
                  <a:gd name="T55" fmla="*/ 2147483647 h 295"/>
                  <a:gd name="T56" fmla="*/ 2147483647 w 474"/>
                  <a:gd name="T57" fmla="*/ 2147483647 h 295"/>
                  <a:gd name="T58" fmla="*/ 2147483647 w 474"/>
                  <a:gd name="T59" fmla="*/ 0 h 295"/>
                  <a:gd name="T60" fmla="*/ 2147483647 w 474"/>
                  <a:gd name="T61" fmla="*/ 2147483647 h 295"/>
                  <a:gd name="T62" fmla="*/ 0 w 474"/>
                  <a:gd name="T63" fmla="*/ 2147483647 h 295"/>
                  <a:gd name="T64" fmla="*/ 2147483647 w 474"/>
                  <a:gd name="T65" fmla="*/ 2147483647 h 295"/>
                  <a:gd name="T66" fmla="*/ 2147483647 w 474"/>
                  <a:gd name="T67" fmla="*/ 2147483647 h 295"/>
                  <a:gd name="T68" fmla="*/ 2147483647 w 474"/>
                  <a:gd name="T69" fmla="*/ 2147483647 h 295"/>
                  <a:gd name="T70" fmla="*/ 2147483647 w 474"/>
                  <a:gd name="T71" fmla="*/ 2147483647 h 295"/>
                  <a:gd name="T72" fmla="*/ 2147483647 w 474"/>
                  <a:gd name="T73" fmla="*/ 2147483647 h 295"/>
                  <a:gd name="T74" fmla="*/ 2147483647 w 474"/>
                  <a:gd name="T75" fmla="*/ 2147483647 h 295"/>
                  <a:gd name="T76" fmla="*/ 2147483647 w 474"/>
                  <a:gd name="T77" fmla="*/ 2147483647 h 295"/>
                  <a:gd name="T78" fmla="*/ 2147483647 w 474"/>
                  <a:gd name="T79" fmla="*/ 2147483647 h 295"/>
                  <a:gd name="T80" fmla="*/ 2147483647 w 474"/>
                  <a:gd name="T81" fmla="*/ 2147483647 h 295"/>
                  <a:gd name="T82" fmla="*/ 2147483647 w 474"/>
                  <a:gd name="T83" fmla="*/ 2147483647 h 295"/>
                  <a:gd name="T84" fmla="*/ 2147483647 w 474"/>
                  <a:gd name="T85" fmla="*/ 2147483647 h 29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474" h="295">
                    <a:moveTo>
                      <a:pt x="454" y="182"/>
                    </a:moveTo>
                    <a:cubicBezTo>
                      <a:pt x="461" y="168"/>
                      <a:pt x="466" y="153"/>
                      <a:pt x="466" y="136"/>
                    </a:cubicBezTo>
                    <a:cubicBezTo>
                      <a:pt x="466" y="106"/>
                      <a:pt x="452" y="80"/>
                      <a:pt x="432" y="61"/>
                    </a:cubicBezTo>
                    <a:cubicBezTo>
                      <a:pt x="428" y="58"/>
                      <a:pt x="423" y="59"/>
                      <a:pt x="420" y="63"/>
                    </a:cubicBezTo>
                    <a:cubicBezTo>
                      <a:pt x="418" y="66"/>
                      <a:pt x="418" y="71"/>
                      <a:pt x="422" y="74"/>
                    </a:cubicBezTo>
                    <a:cubicBezTo>
                      <a:pt x="422" y="74"/>
                      <a:pt x="422" y="74"/>
                      <a:pt x="422" y="74"/>
                    </a:cubicBezTo>
                    <a:cubicBezTo>
                      <a:pt x="439" y="90"/>
                      <a:pt x="450" y="112"/>
                      <a:pt x="450" y="136"/>
                    </a:cubicBezTo>
                    <a:cubicBezTo>
                      <a:pt x="450" y="152"/>
                      <a:pt x="445" y="167"/>
                      <a:pt x="437" y="179"/>
                    </a:cubicBezTo>
                    <a:cubicBezTo>
                      <a:pt x="435" y="183"/>
                      <a:pt x="436" y="187"/>
                      <a:pt x="439" y="189"/>
                    </a:cubicBezTo>
                    <a:cubicBezTo>
                      <a:pt x="450" y="200"/>
                      <a:pt x="458" y="214"/>
                      <a:pt x="458" y="230"/>
                    </a:cubicBezTo>
                    <a:cubicBezTo>
                      <a:pt x="458" y="240"/>
                      <a:pt x="453" y="253"/>
                      <a:pt x="445" y="262"/>
                    </a:cubicBezTo>
                    <a:cubicBezTo>
                      <a:pt x="436" y="272"/>
                      <a:pt x="424" y="279"/>
                      <a:pt x="410" y="279"/>
                    </a:cubicBezTo>
                    <a:cubicBezTo>
                      <a:pt x="350" y="279"/>
                      <a:pt x="350" y="279"/>
                      <a:pt x="350" y="279"/>
                    </a:cubicBezTo>
                    <a:cubicBezTo>
                      <a:pt x="74" y="279"/>
                      <a:pt x="74" y="279"/>
                      <a:pt x="74" y="279"/>
                    </a:cubicBezTo>
                    <a:cubicBezTo>
                      <a:pt x="58" y="279"/>
                      <a:pt x="44" y="270"/>
                      <a:pt x="33" y="256"/>
                    </a:cubicBezTo>
                    <a:cubicBezTo>
                      <a:pt x="22" y="243"/>
                      <a:pt x="16" y="225"/>
                      <a:pt x="16" y="209"/>
                    </a:cubicBezTo>
                    <a:cubicBezTo>
                      <a:pt x="16" y="172"/>
                      <a:pt x="42" y="141"/>
                      <a:pt x="77" y="134"/>
                    </a:cubicBezTo>
                    <a:cubicBezTo>
                      <a:pt x="81" y="133"/>
                      <a:pt x="83" y="130"/>
                      <a:pt x="84" y="127"/>
                    </a:cubicBezTo>
                    <a:cubicBezTo>
                      <a:pt x="90" y="65"/>
                      <a:pt x="142" y="16"/>
                      <a:pt x="206" y="16"/>
                    </a:cubicBezTo>
                    <a:cubicBezTo>
                      <a:pt x="247" y="16"/>
                      <a:pt x="282" y="36"/>
                      <a:pt x="305" y="66"/>
                    </a:cubicBezTo>
                    <a:cubicBezTo>
                      <a:pt x="308" y="70"/>
                      <a:pt x="313" y="70"/>
                      <a:pt x="316" y="68"/>
                    </a:cubicBezTo>
                    <a:cubicBezTo>
                      <a:pt x="330" y="58"/>
                      <a:pt x="347" y="52"/>
                      <a:pt x="365" y="52"/>
                    </a:cubicBezTo>
                    <a:cubicBezTo>
                      <a:pt x="376" y="52"/>
                      <a:pt x="386" y="54"/>
                      <a:pt x="395" y="57"/>
                    </a:cubicBezTo>
                    <a:cubicBezTo>
                      <a:pt x="395" y="57"/>
                      <a:pt x="396" y="58"/>
                      <a:pt x="396" y="58"/>
                    </a:cubicBezTo>
                    <a:cubicBezTo>
                      <a:pt x="400" y="59"/>
                      <a:pt x="405" y="58"/>
                      <a:pt x="406" y="54"/>
                    </a:cubicBezTo>
                    <a:cubicBezTo>
                      <a:pt x="407" y="52"/>
                      <a:pt x="407" y="51"/>
                      <a:pt x="407" y="49"/>
                    </a:cubicBezTo>
                    <a:cubicBezTo>
                      <a:pt x="407" y="47"/>
                      <a:pt x="405" y="44"/>
                      <a:pt x="403" y="43"/>
                    </a:cubicBezTo>
                    <a:cubicBezTo>
                      <a:pt x="391" y="38"/>
                      <a:pt x="378" y="36"/>
                      <a:pt x="365" y="36"/>
                    </a:cubicBezTo>
                    <a:cubicBezTo>
                      <a:pt x="346" y="36"/>
                      <a:pt x="328" y="41"/>
                      <a:pt x="313" y="51"/>
                    </a:cubicBezTo>
                    <a:cubicBezTo>
                      <a:pt x="288" y="20"/>
                      <a:pt x="249" y="0"/>
                      <a:pt x="206" y="0"/>
                    </a:cubicBezTo>
                    <a:cubicBezTo>
                      <a:pt x="136" y="0"/>
                      <a:pt x="78" y="52"/>
                      <a:pt x="68" y="120"/>
                    </a:cubicBezTo>
                    <a:cubicBezTo>
                      <a:pt x="29" y="130"/>
                      <a:pt x="0" y="166"/>
                      <a:pt x="0" y="209"/>
                    </a:cubicBezTo>
                    <a:cubicBezTo>
                      <a:pt x="0" y="229"/>
                      <a:pt x="7" y="250"/>
                      <a:pt x="20" y="266"/>
                    </a:cubicBezTo>
                    <a:cubicBezTo>
                      <a:pt x="33" y="283"/>
                      <a:pt x="52" y="295"/>
                      <a:pt x="74" y="295"/>
                    </a:cubicBezTo>
                    <a:cubicBezTo>
                      <a:pt x="350" y="295"/>
                      <a:pt x="350" y="295"/>
                      <a:pt x="350" y="295"/>
                    </a:cubicBezTo>
                    <a:cubicBezTo>
                      <a:pt x="350" y="295"/>
                      <a:pt x="351" y="295"/>
                      <a:pt x="351" y="295"/>
                    </a:cubicBezTo>
                    <a:cubicBezTo>
                      <a:pt x="382" y="295"/>
                      <a:pt x="382" y="295"/>
                      <a:pt x="382" y="295"/>
                    </a:cubicBezTo>
                    <a:cubicBezTo>
                      <a:pt x="382" y="295"/>
                      <a:pt x="382" y="295"/>
                      <a:pt x="382" y="295"/>
                    </a:cubicBezTo>
                    <a:cubicBezTo>
                      <a:pt x="382" y="295"/>
                      <a:pt x="382" y="295"/>
                      <a:pt x="382" y="295"/>
                    </a:cubicBezTo>
                    <a:cubicBezTo>
                      <a:pt x="410" y="295"/>
                      <a:pt x="410" y="295"/>
                      <a:pt x="410" y="295"/>
                    </a:cubicBezTo>
                    <a:cubicBezTo>
                      <a:pt x="430" y="295"/>
                      <a:pt x="446" y="286"/>
                      <a:pt x="457" y="273"/>
                    </a:cubicBezTo>
                    <a:cubicBezTo>
                      <a:pt x="468" y="260"/>
                      <a:pt x="474" y="244"/>
                      <a:pt x="474" y="230"/>
                    </a:cubicBezTo>
                    <a:cubicBezTo>
                      <a:pt x="474" y="211"/>
                      <a:pt x="466" y="194"/>
                      <a:pt x="454" y="18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91436" tIns="45718" rIns="91436" bIns="45718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8585A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142" name="Straight Connector 62">
              <a:extLst>
                <a:ext uri="{FF2B5EF4-FFF2-40B4-BE49-F238E27FC236}">
                  <a16:creationId xmlns="" xmlns:a16="http://schemas.microsoft.com/office/drawing/2014/main" id="{8E1FF9F6-EA61-4537-8CAA-008487BD1EE9}"/>
                </a:ext>
              </a:extLst>
            </p:cNvPr>
            <p:cNvCxnSpPr>
              <a:cxnSpLocks noChangeShapeType="1"/>
            </p:cNvCxnSpPr>
            <p:nvPr>
              <p:custDataLst>
                <p:tags r:id="rId8"/>
              </p:custDataLst>
            </p:nvPr>
          </p:nvCxnSpPr>
          <p:spPr bwMode="auto">
            <a:xfrm>
              <a:off x="9575813" y="3710864"/>
              <a:ext cx="770369" cy="1502855"/>
            </a:xfrm>
            <a:prstGeom prst="line">
              <a:avLst/>
            </a:prstGeom>
            <a:noFill/>
            <a:ln w="25400" cap="rnd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43" name="Straight Connector 62">
              <a:extLst>
                <a:ext uri="{FF2B5EF4-FFF2-40B4-BE49-F238E27FC236}">
                  <a16:creationId xmlns="" xmlns:a16="http://schemas.microsoft.com/office/drawing/2014/main" id="{CD07714F-005D-440F-877A-8433A0A93BC1}"/>
                </a:ext>
              </a:extLst>
            </p:cNvPr>
            <p:cNvCxnSpPr>
              <a:cxnSpLocks noChangeShapeType="1"/>
            </p:cNvCxnSpPr>
            <p:nvPr>
              <p:custDataLst>
                <p:tags r:id="rId9"/>
              </p:custDataLst>
            </p:nvPr>
          </p:nvCxnSpPr>
          <p:spPr bwMode="auto">
            <a:xfrm>
              <a:off x="9566288" y="3631433"/>
              <a:ext cx="1422710" cy="1292870"/>
            </a:xfrm>
            <a:prstGeom prst="line">
              <a:avLst/>
            </a:prstGeom>
            <a:noFill/>
            <a:ln w="25400" cap="rnd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44" name="Straight Connector 62">
              <a:extLst>
                <a:ext uri="{FF2B5EF4-FFF2-40B4-BE49-F238E27FC236}">
                  <a16:creationId xmlns="" xmlns:a16="http://schemas.microsoft.com/office/drawing/2014/main" id="{F9610C17-11BA-4533-B61D-C4E821095D1C}"/>
                </a:ext>
              </a:extLst>
            </p:cNvPr>
            <p:cNvCxnSpPr>
              <a:cxnSpLocks noChangeShapeType="1"/>
            </p:cNvCxnSpPr>
            <p:nvPr>
              <p:custDataLst>
                <p:tags r:id="rId10"/>
              </p:custDataLst>
            </p:nvPr>
          </p:nvCxnSpPr>
          <p:spPr bwMode="auto">
            <a:xfrm>
              <a:off x="9579614" y="3564583"/>
              <a:ext cx="1326679" cy="663220"/>
            </a:xfrm>
            <a:prstGeom prst="line">
              <a:avLst/>
            </a:prstGeom>
            <a:noFill/>
            <a:ln w="25400" cap="rnd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45" name="Straight Connector 62">
              <a:extLst>
                <a:ext uri="{FF2B5EF4-FFF2-40B4-BE49-F238E27FC236}">
                  <a16:creationId xmlns="" xmlns:a16="http://schemas.microsoft.com/office/drawing/2014/main" id="{4E99B4DF-2468-4980-AF35-7EB57588A569}"/>
                </a:ext>
              </a:extLst>
            </p:cNvPr>
            <p:cNvCxnSpPr>
              <a:cxnSpLocks noChangeShapeType="1"/>
            </p:cNvCxnSpPr>
            <p:nvPr>
              <p:custDataLst>
                <p:tags r:id="rId11"/>
              </p:custDataLst>
            </p:nvPr>
          </p:nvCxnSpPr>
          <p:spPr bwMode="auto">
            <a:xfrm flipV="1">
              <a:off x="9575813" y="2858559"/>
              <a:ext cx="1323031" cy="550491"/>
            </a:xfrm>
            <a:prstGeom prst="line">
              <a:avLst/>
            </a:prstGeom>
            <a:noFill/>
            <a:ln w="25400" cap="rnd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46" name="Straight Connector 62">
              <a:extLst>
                <a:ext uri="{FF2B5EF4-FFF2-40B4-BE49-F238E27FC236}">
                  <a16:creationId xmlns="" xmlns:a16="http://schemas.microsoft.com/office/drawing/2014/main" id="{EAB522C5-2395-45B8-911E-18374C4E7138}"/>
                </a:ext>
              </a:extLst>
            </p:cNvPr>
            <p:cNvCxnSpPr>
              <a:cxnSpLocks noChangeShapeType="1"/>
            </p:cNvCxnSpPr>
            <p:nvPr>
              <p:custDataLst>
                <p:tags r:id="rId12"/>
              </p:custDataLst>
            </p:nvPr>
          </p:nvCxnSpPr>
          <p:spPr bwMode="auto">
            <a:xfrm flipV="1">
              <a:off x="9575813" y="2627438"/>
              <a:ext cx="597871" cy="714166"/>
            </a:xfrm>
            <a:prstGeom prst="line">
              <a:avLst/>
            </a:prstGeom>
            <a:noFill/>
            <a:ln w="25400" cap="rnd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48" name="Straight Connector 62">
              <a:extLst>
                <a:ext uri="{FF2B5EF4-FFF2-40B4-BE49-F238E27FC236}">
                  <a16:creationId xmlns="" xmlns:a16="http://schemas.microsoft.com/office/drawing/2014/main" id="{BC4ADC46-908E-49A1-9385-BD2DB12FC4BD}"/>
                </a:ext>
              </a:extLst>
            </p:cNvPr>
            <p:cNvCxnSpPr>
              <a:cxnSpLocks noChangeShapeType="1"/>
            </p:cNvCxnSpPr>
            <p:nvPr>
              <p:custDataLst>
                <p:tags r:id="rId13"/>
              </p:custDataLst>
            </p:nvPr>
          </p:nvCxnSpPr>
          <p:spPr bwMode="auto">
            <a:xfrm>
              <a:off x="5467196" y="3699759"/>
              <a:ext cx="4104000" cy="0"/>
            </a:xfrm>
            <a:prstGeom prst="line">
              <a:avLst/>
            </a:prstGeom>
            <a:noFill/>
            <a:ln w="25400" cap="flat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49" name="Straight Connector 62">
              <a:extLst>
                <a:ext uri="{FF2B5EF4-FFF2-40B4-BE49-F238E27FC236}">
                  <a16:creationId xmlns="" xmlns:a16="http://schemas.microsoft.com/office/drawing/2014/main" id="{F54DA646-92B3-42E1-BA98-B0273A2BF360}"/>
                </a:ext>
              </a:extLst>
            </p:cNvPr>
            <p:cNvCxnSpPr>
              <a:cxnSpLocks noChangeShapeType="1"/>
            </p:cNvCxnSpPr>
            <p:nvPr>
              <p:custDataLst>
                <p:tags r:id="rId14"/>
              </p:custDataLst>
            </p:nvPr>
          </p:nvCxnSpPr>
          <p:spPr bwMode="auto">
            <a:xfrm>
              <a:off x="5452200" y="3341629"/>
              <a:ext cx="4122000" cy="0"/>
            </a:xfrm>
            <a:prstGeom prst="line">
              <a:avLst/>
            </a:prstGeom>
            <a:noFill/>
            <a:ln w="25400" cap="flat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50" name="Straight Connector 62">
              <a:extLst>
                <a:ext uri="{FF2B5EF4-FFF2-40B4-BE49-F238E27FC236}">
                  <a16:creationId xmlns="" xmlns:a16="http://schemas.microsoft.com/office/drawing/2014/main" id="{FDC4EE20-37FB-4697-970B-CECFDBF3C910}"/>
                </a:ext>
              </a:extLst>
            </p:cNvPr>
            <p:cNvCxnSpPr>
              <a:cxnSpLocks noChangeShapeType="1"/>
            </p:cNvCxnSpPr>
            <p:nvPr>
              <p:custDataLst>
                <p:tags r:id="rId15"/>
              </p:custDataLst>
            </p:nvPr>
          </p:nvCxnSpPr>
          <p:spPr bwMode="auto">
            <a:xfrm>
              <a:off x="3926475" y="3494029"/>
              <a:ext cx="6984000" cy="0"/>
            </a:xfrm>
            <a:prstGeom prst="line">
              <a:avLst/>
            </a:prstGeom>
            <a:noFill/>
            <a:ln w="25400" cap="flat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51" name="Straight Connector 62">
              <a:extLst>
                <a:ext uri="{FF2B5EF4-FFF2-40B4-BE49-F238E27FC236}">
                  <a16:creationId xmlns="" xmlns:a16="http://schemas.microsoft.com/office/drawing/2014/main" id="{08C7095D-7BB9-4243-B9CC-B91F503AD4CC}"/>
                </a:ext>
              </a:extLst>
            </p:cNvPr>
            <p:cNvCxnSpPr>
              <a:cxnSpLocks noChangeShapeType="1"/>
            </p:cNvCxnSpPr>
            <p:nvPr>
              <p:custDataLst>
                <p:tags r:id="rId16"/>
              </p:custDataLst>
            </p:nvPr>
          </p:nvCxnSpPr>
          <p:spPr bwMode="auto">
            <a:xfrm>
              <a:off x="5461725" y="3415879"/>
              <a:ext cx="4122000" cy="0"/>
            </a:xfrm>
            <a:prstGeom prst="line">
              <a:avLst/>
            </a:prstGeom>
            <a:noFill/>
            <a:ln w="25400" cap="flat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52" name="Straight Connector 62">
              <a:extLst>
                <a:ext uri="{FF2B5EF4-FFF2-40B4-BE49-F238E27FC236}">
                  <a16:creationId xmlns="" xmlns:a16="http://schemas.microsoft.com/office/drawing/2014/main" id="{95DB379B-957D-4B3E-8814-348BE97C6A38}"/>
                </a:ext>
              </a:extLst>
            </p:cNvPr>
            <p:cNvCxnSpPr>
              <a:cxnSpLocks noChangeShapeType="1"/>
            </p:cNvCxnSpPr>
            <p:nvPr>
              <p:custDataLst>
                <p:tags r:id="rId17"/>
              </p:custDataLst>
            </p:nvPr>
          </p:nvCxnSpPr>
          <p:spPr bwMode="auto">
            <a:xfrm>
              <a:off x="5459700" y="3568279"/>
              <a:ext cx="4122000" cy="0"/>
            </a:xfrm>
            <a:prstGeom prst="line">
              <a:avLst/>
            </a:prstGeom>
            <a:noFill/>
            <a:ln w="25400" cap="flat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53" name="Straight Connector 62">
              <a:extLst>
                <a:ext uri="{FF2B5EF4-FFF2-40B4-BE49-F238E27FC236}">
                  <a16:creationId xmlns="" xmlns:a16="http://schemas.microsoft.com/office/drawing/2014/main" id="{3DA0DD71-7CC0-47C8-BECE-AD353134D00F}"/>
                </a:ext>
              </a:extLst>
            </p:cNvPr>
            <p:cNvCxnSpPr>
              <a:cxnSpLocks noChangeShapeType="1"/>
            </p:cNvCxnSpPr>
            <p:nvPr>
              <p:custDataLst>
                <p:tags r:id="rId18"/>
              </p:custDataLst>
            </p:nvPr>
          </p:nvCxnSpPr>
          <p:spPr bwMode="auto">
            <a:xfrm>
              <a:off x="5440650" y="3634954"/>
              <a:ext cx="4122000" cy="0"/>
            </a:xfrm>
            <a:prstGeom prst="line">
              <a:avLst/>
            </a:prstGeom>
            <a:noFill/>
            <a:ln w="25400" cap="flat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155" name="Rectangle: Rounded Corners 2">
              <a:extLst>
                <a:ext uri="{FF2B5EF4-FFF2-40B4-BE49-F238E27FC236}">
                  <a16:creationId xmlns="" xmlns:a16="http://schemas.microsoft.com/office/drawing/2014/main" id="{62CD577F-F9FC-44E4-AAB4-45A41A71AE94}"/>
                </a:ext>
              </a:extLst>
            </p:cNvPr>
            <p:cNvSpPr/>
            <p:nvPr/>
          </p:nvSpPr>
          <p:spPr bwMode="auto">
            <a:xfrm>
              <a:off x="6342786" y="3338540"/>
              <a:ext cx="2156924" cy="372322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50000"/>
              </a:schemeClr>
            </a:solidFill>
            <a:ln w="254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72000" tIns="45720" rIns="720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ETWORK SLICING</a:t>
              </a:r>
            </a:p>
          </p:txBody>
        </p:sp>
        <p:grpSp>
          <p:nvGrpSpPr>
            <p:cNvPr id="156" name="Group 155">
              <a:extLst>
                <a:ext uri="{FF2B5EF4-FFF2-40B4-BE49-F238E27FC236}">
                  <a16:creationId xmlns="" xmlns:a16="http://schemas.microsoft.com/office/drawing/2014/main" id="{A989CAEE-9EE1-42A3-B079-5203476C1A15}"/>
                </a:ext>
              </a:extLst>
            </p:cNvPr>
            <p:cNvGrpSpPr/>
            <p:nvPr/>
          </p:nvGrpSpPr>
          <p:grpSpPr>
            <a:xfrm>
              <a:off x="10151417" y="5228756"/>
              <a:ext cx="719503" cy="720244"/>
              <a:chOff x="9989914" y="2181961"/>
              <a:chExt cx="719503" cy="720244"/>
            </a:xfrm>
          </p:grpSpPr>
          <p:sp>
            <p:nvSpPr>
              <p:cNvPr id="157" name="Rounded Rectangle 103">
                <a:extLst>
                  <a:ext uri="{FF2B5EF4-FFF2-40B4-BE49-F238E27FC236}">
                    <a16:creationId xmlns="" xmlns:a16="http://schemas.microsoft.com/office/drawing/2014/main" id="{0AF2656D-2DDD-4CC0-AE6A-3AB4FD4FA8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89914" y="2181961"/>
                <a:ext cx="719503" cy="720244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20000"/>
                </a:schemeClr>
              </a:solidFill>
              <a:ln w="2540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71988" tIns="45718" rIns="71988" bIns="45718"/>
              <a:lstStyle>
                <a:lvl1pPr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Ericsson Sans Medium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8" name="Freeform 9">
                <a:extLst>
                  <a:ext uri="{FF2B5EF4-FFF2-40B4-BE49-F238E27FC236}">
                    <a16:creationId xmlns="" xmlns:a16="http://schemas.microsoft.com/office/drawing/2014/main" id="{47208617-9FF6-4012-A4DD-00DE9E25655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0108112" y="2411312"/>
                <a:ext cx="469384" cy="279635"/>
              </a:xfrm>
              <a:custGeom>
                <a:avLst/>
                <a:gdLst>
                  <a:gd name="T0" fmla="*/ 2147483647 w 474"/>
                  <a:gd name="T1" fmla="*/ 2147483647 h 295"/>
                  <a:gd name="T2" fmla="*/ 2147483647 w 474"/>
                  <a:gd name="T3" fmla="*/ 2147483647 h 295"/>
                  <a:gd name="T4" fmla="*/ 2147483647 w 474"/>
                  <a:gd name="T5" fmla="*/ 2147483647 h 295"/>
                  <a:gd name="T6" fmla="*/ 2147483647 w 474"/>
                  <a:gd name="T7" fmla="*/ 2147483647 h 295"/>
                  <a:gd name="T8" fmla="*/ 2147483647 w 474"/>
                  <a:gd name="T9" fmla="*/ 2147483647 h 295"/>
                  <a:gd name="T10" fmla="*/ 2147483647 w 474"/>
                  <a:gd name="T11" fmla="*/ 2147483647 h 295"/>
                  <a:gd name="T12" fmla="*/ 2147483647 w 474"/>
                  <a:gd name="T13" fmla="*/ 2147483647 h 295"/>
                  <a:gd name="T14" fmla="*/ 2147483647 w 474"/>
                  <a:gd name="T15" fmla="*/ 2147483647 h 295"/>
                  <a:gd name="T16" fmla="*/ 2147483647 w 474"/>
                  <a:gd name="T17" fmla="*/ 2147483647 h 295"/>
                  <a:gd name="T18" fmla="*/ 2147483647 w 474"/>
                  <a:gd name="T19" fmla="*/ 2147483647 h 295"/>
                  <a:gd name="T20" fmla="*/ 2147483647 w 474"/>
                  <a:gd name="T21" fmla="*/ 2147483647 h 295"/>
                  <a:gd name="T22" fmla="*/ 2147483647 w 474"/>
                  <a:gd name="T23" fmla="*/ 2147483647 h 295"/>
                  <a:gd name="T24" fmla="*/ 2147483647 w 474"/>
                  <a:gd name="T25" fmla="*/ 2147483647 h 295"/>
                  <a:gd name="T26" fmla="*/ 2147483647 w 474"/>
                  <a:gd name="T27" fmla="*/ 2147483647 h 295"/>
                  <a:gd name="T28" fmla="*/ 2147483647 w 474"/>
                  <a:gd name="T29" fmla="*/ 2147483647 h 295"/>
                  <a:gd name="T30" fmla="*/ 2147483647 w 474"/>
                  <a:gd name="T31" fmla="*/ 2147483647 h 295"/>
                  <a:gd name="T32" fmla="*/ 2147483647 w 474"/>
                  <a:gd name="T33" fmla="*/ 2147483647 h 295"/>
                  <a:gd name="T34" fmla="*/ 2147483647 w 474"/>
                  <a:gd name="T35" fmla="*/ 2147483647 h 295"/>
                  <a:gd name="T36" fmla="*/ 2147483647 w 474"/>
                  <a:gd name="T37" fmla="*/ 2147483647 h 295"/>
                  <a:gd name="T38" fmla="*/ 2147483647 w 474"/>
                  <a:gd name="T39" fmla="*/ 2147483647 h 295"/>
                  <a:gd name="T40" fmla="*/ 2147483647 w 474"/>
                  <a:gd name="T41" fmla="*/ 2147483647 h 295"/>
                  <a:gd name="T42" fmla="*/ 2147483647 w 474"/>
                  <a:gd name="T43" fmla="*/ 2147483647 h 295"/>
                  <a:gd name="T44" fmla="*/ 2147483647 w 474"/>
                  <a:gd name="T45" fmla="*/ 2147483647 h 295"/>
                  <a:gd name="T46" fmla="*/ 2147483647 w 474"/>
                  <a:gd name="T47" fmla="*/ 2147483647 h 295"/>
                  <a:gd name="T48" fmla="*/ 2147483647 w 474"/>
                  <a:gd name="T49" fmla="*/ 2147483647 h 295"/>
                  <a:gd name="T50" fmla="*/ 2147483647 w 474"/>
                  <a:gd name="T51" fmla="*/ 2147483647 h 295"/>
                  <a:gd name="T52" fmla="*/ 2147483647 w 474"/>
                  <a:gd name="T53" fmla="*/ 2147483647 h 295"/>
                  <a:gd name="T54" fmla="*/ 2147483647 w 474"/>
                  <a:gd name="T55" fmla="*/ 2147483647 h 295"/>
                  <a:gd name="T56" fmla="*/ 2147483647 w 474"/>
                  <a:gd name="T57" fmla="*/ 2147483647 h 295"/>
                  <a:gd name="T58" fmla="*/ 2147483647 w 474"/>
                  <a:gd name="T59" fmla="*/ 0 h 295"/>
                  <a:gd name="T60" fmla="*/ 2147483647 w 474"/>
                  <a:gd name="T61" fmla="*/ 2147483647 h 295"/>
                  <a:gd name="T62" fmla="*/ 0 w 474"/>
                  <a:gd name="T63" fmla="*/ 2147483647 h 295"/>
                  <a:gd name="T64" fmla="*/ 2147483647 w 474"/>
                  <a:gd name="T65" fmla="*/ 2147483647 h 295"/>
                  <a:gd name="T66" fmla="*/ 2147483647 w 474"/>
                  <a:gd name="T67" fmla="*/ 2147483647 h 295"/>
                  <a:gd name="T68" fmla="*/ 2147483647 w 474"/>
                  <a:gd name="T69" fmla="*/ 2147483647 h 295"/>
                  <a:gd name="T70" fmla="*/ 2147483647 w 474"/>
                  <a:gd name="T71" fmla="*/ 2147483647 h 295"/>
                  <a:gd name="T72" fmla="*/ 2147483647 w 474"/>
                  <a:gd name="T73" fmla="*/ 2147483647 h 295"/>
                  <a:gd name="T74" fmla="*/ 2147483647 w 474"/>
                  <a:gd name="T75" fmla="*/ 2147483647 h 295"/>
                  <a:gd name="T76" fmla="*/ 2147483647 w 474"/>
                  <a:gd name="T77" fmla="*/ 2147483647 h 295"/>
                  <a:gd name="T78" fmla="*/ 2147483647 w 474"/>
                  <a:gd name="T79" fmla="*/ 2147483647 h 295"/>
                  <a:gd name="T80" fmla="*/ 2147483647 w 474"/>
                  <a:gd name="T81" fmla="*/ 2147483647 h 295"/>
                  <a:gd name="T82" fmla="*/ 2147483647 w 474"/>
                  <a:gd name="T83" fmla="*/ 2147483647 h 295"/>
                  <a:gd name="T84" fmla="*/ 2147483647 w 474"/>
                  <a:gd name="T85" fmla="*/ 2147483647 h 29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474" h="295">
                    <a:moveTo>
                      <a:pt x="454" y="182"/>
                    </a:moveTo>
                    <a:cubicBezTo>
                      <a:pt x="461" y="168"/>
                      <a:pt x="466" y="153"/>
                      <a:pt x="466" y="136"/>
                    </a:cubicBezTo>
                    <a:cubicBezTo>
                      <a:pt x="466" y="106"/>
                      <a:pt x="452" y="80"/>
                      <a:pt x="432" y="61"/>
                    </a:cubicBezTo>
                    <a:cubicBezTo>
                      <a:pt x="428" y="58"/>
                      <a:pt x="423" y="59"/>
                      <a:pt x="420" y="63"/>
                    </a:cubicBezTo>
                    <a:cubicBezTo>
                      <a:pt x="418" y="66"/>
                      <a:pt x="418" y="71"/>
                      <a:pt x="422" y="74"/>
                    </a:cubicBezTo>
                    <a:cubicBezTo>
                      <a:pt x="422" y="74"/>
                      <a:pt x="422" y="74"/>
                      <a:pt x="422" y="74"/>
                    </a:cubicBezTo>
                    <a:cubicBezTo>
                      <a:pt x="439" y="90"/>
                      <a:pt x="450" y="112"/>
                      <a:pt x="450" y="136"/>
                    </a:cubicBezTo>
                    <a:cubicBezTo>
                      <a:pt x="450" y="152"/>
                      <a:pt x="445" y="167"/>
                      <a:pt x="437" y="179"/>
                    </a:cubicBezTo>
                    <a:cubicBezTo>
                      <a:pt x="435" y="183"/>
                      <a:pt x="436" y="187"/>
                      <a:pt x="439" y="189"/>
                    </a:cubicBezTo>
                    <a:cubicBezTo>
                      <a:pt x="450" y="200"/>
                      <a:pt x="458" y="214"/>
                      <a:pt x="458" y="230"/>
                    </a:cubicBezTo>
                    <a:cubicBezTo>
                      <a:pt x="458" y="240"/>
                      <a:pt x="453" y="253"/>
                      <a:pt x="445" y="262"/>
                    </a:cubicBezTo>
                    <a:cubicBezTo>
                      <a:pt x="436" y="272"/>
                      <a:pt x="424" y="279"/>
                      <a:pt x="410" y="279"/>
                    </a:cubicBezTo>
                    <a:cubicBezTo>
                      <a:pt x="350" y="279"/>
                      <a:pt x="350" y="279"/>
                      <a:pt x="350" y="279"/>
                    </a:cubicBezTo>
                    <a:cubicBezTo>
                      <a:pt x="74" y="279"/>
                      <a:pt x="74" y="279"/>
                      <a:pt x="74" y="279"/>
                    </a:cubicBezTo>
                    <a:cubicBezTo>
                      <a:pt x="58" y="279"/>
                      <a:pt x="44" y="270"/>
                      <a:pt x="33" y="256"/>
                    </a:cubicBezTo>
                    <a:cubicBezTo>
                      <a:pt x="22" y="243"/>
                      <a:pt x="16" y="225"/>
                      <a:pt x="16" y="209"/>
                    </a:cubicBezTo>
                    <a:cubicBezTo>
                      <a:pt x="16" y="172"/>
                      <a:pt x="42" y="141"/>
                      <a:pt x="77" y="134"/>
                    </a:cubicBezTo>
                    <a:cubicBezTo>
                      <a:pt x="81" y="133"/>
                      <a:pt x="83" y="130"/>
                      <a:pt x="84" y="127"/>
                    </a:cubicBezTo>
                    <a:cubicBezTo>
                      <a:pt x="90" y="65"/>
                      <a:pt x="142" y="16"/>
                      <a:pt x="206" y="16"/>
                    </a:cubicBezTo>
                    <a:cubicBezTo>
                      <a:pt x="247" y="16"/>
                      <a:pt x="282" y="36"/>
                      <a:pt x="305" y="66"/>
                    </a:cubicBezTo>
                    <a:cubicBezTo>
                      <a:pt x="308" y="70"/>
                      <a:pt x="313" y="70"/>
                      <a:pt x="316" y="68"/>
                    </a:cubicBezTo>
                    <a:cubicBezTo>
                      <a:pt x="330" y="58"/>
                      <a:pt x="347" y="52"/>
                      <a:pt x="365" y="52"/>
                    </a:cubicBezTo>
                    <a:cubicBezTo>
                      <a:pt x="376" y="52"/>
                      <a:pt x="386" y="54"/>
                      <a:pt x="395" y="57"/>
                    </a:cubicBezTo>
                    <a:cubicBezTo>
                      <a:pt x="395" y="57"/>
                      <a:pt x="396" y="58"/>
                      <a:pt x="396" y="58"/>
                    </a:cubicBezTo>
                    <a:cubicBezTo>
                      <a:pt x="400" y="59"/>
                      <a:pt x="405" y="58"/>
                      <a:pt x="406" y="54"/>
                    </a:cubicBezTo>
                    <a:cubicBezTo>
                      <a:pt x="407" y="52"/>
                      <a:pt x="407" y="51"/>
                      <a:pt x="407" y="49"/>
                    </a:cubicBezTo>
                    <a:cubicBezTo>
                      <a:pt x="407" y="47"/>
                      <a:pt x="405" y="44"/>
                      <a:pt x="403" y="43"/>
                    </a:cubicBezTo>
                    <a:cubicBezTo>
                      <a:pt x="391" y="38"/>
                      <a:pt x="378" y="36"/>
                      <a:pt x="365" y="36"/>
                    </a:cubicBezTo>
                    <a:cubicBezTo>
                      <a:pt x="346" y="36"/>
                      <a:pt x="328" y="41"/>
                      <a:pt x="313" y="51"/>
                    </a:cubicBezTo>
                    <a:cubicBezTo>
                      <a:pt x="288" y="20"/>
                      <a:pt x="249" y="0"/>
                      <a:pt x="206" y="0"/>
                    </a:cubicBezTo>
                    <a:cubicBezTo>
                      <a:pt x="136" y="0"/>
                      <a:pt x="78" y="52"/>
                      <a:pt x="68" y="120"/>
                    </a:cubicBezTo>
                    <a:cubicBezTo>
                      <a:pt x="29" y="130"/>
                      <a:pt x="0" y="166"/>
                      <a:pt x="0" y="209"/>
                    </a:cubicBezTo>
                    <a:cubicBezTo>
                      <a:pt x="0" y="229"/>
                      <a:pt x="7" y="250"/>
                      <a:pt x="20" y="266"/>
                    </a:cubicBezTo>
                    <a:cubicBezTo>
                      <a:pt x="33" y="283"/>
                      <a:pt x="52" y="295"/>
                      <a:pt x="74" y="295"/>
                    </a:cubicBezTo>
                    <a:cubicBezTo>
                      <a:pt x="350" y="295"/>
                      <a:pt x="350" y="295"/>
                      <a:pt x="350" y="295"/>
                    </a:cubicBezTo>
                    <a:cubicBezTo>
                      <a:pt x="350" y="295"/>
                      <a:pt x="351" y="295"/>
                      <a:pt x="351" y="295"/>
                    </a:cubicBezTo>
                    <a:cubicBezTo>
                      <a:pt x="382" y="295"/>
                      <a:pt x="382" y="295"/>
                      <a:pt x="382" y="295"/>
                    </a:cubicBezTo>
                    <a:cubicBezTo>
                      <a:pt x="382" y="295"/>
                      <a:pt x="382" y="295"/>
                      <a:pt x="382" y="295"/>
                    </a:cubicBezTo>
                    <a:cubicBezTo>
                      <a:pt x="382" y="295"/>
                      <a:pt x="382" y="295"/>
                      <a:pt x="382" y="295"/>
                    </a:cubicBezTo>
                    <a:cubicBezTo>
                      <a:pt x="410" y="295"/>
                      <a:pt x="410" y="295"/>
                      <a:pt x="410" y="295"/>
                    </a:cubicBezTo>
                    <a:cubicBezTo>
                      <a:pt x="430" y="295"/>
                      <a:pt x="446" y="286"/>
                      <a:pt x="457" y="273"/>
                    </a:cubicBezTo>
                    <a:cubicBezTo>
                      <a:pt x="468" y="260"/>
                      <a:pt x="474" y="244"/>
                      <a:pt x="474" y="230"/>
                    </a:cubicBezTo>
                    <a:cubicBezTo>
                      <a:pt x="474" y="211"/>
                      <a:pt x="466" y="194"/>
                      <a:pt x="454" y="18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91436" tIns="45718" rIns="91436" bIns="45718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8585A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itchFamily="34" charset="-128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65D91A38-F34D-421E-A2DF-3C4F8BDF5ECC}"/>
              </a:ext>
            </a:extLst>
          </p:cNvPr>
          <p:cNvGrpSpPr/>
          <p:nvPr/>
        </p:nvGrpSpPr>
        <p:grpSpPr>
          <a:xfrm>
            <a:off x="5016000" y="995372"/>
            <a:ext cx="5040000" cy="1353628"/>
            <a:chOff x="5016000" y="1037991"/>
            <a:chExt cx="5040000" cy="1353628"/>
          </a:xfrm>
        </p:grpSpPr>
        <p:sp>
          <p:nvSpPr>
            <p:cNvPr id="159" name="Rectangle: Rounded Corners 2">
              <a:extLst>
                <a:ext uri="{FF2B5EF4-FFF2-40B4-BE49-F238E27FC236}">
                  <a16:creationId xmlns="" xmlns:a16="http://schemas.microsoft.com/office/drawing/2014/main" id="{EC2BF747-AC22-4A6B-BCED-6F72FF51B238}"/>
                </a:ext>
              </a:extLst>
            </p:cNvPr>
            <p:cNvSpPr/>
            <p:nvPr/>
          </p:nvSpPr>
          <p:spPr bwMode="auto">
            <a:xfrm>
              <a:off x="5016000" y="1037991"/>
              <a:ext cx="5040000" cy="988534"/>
            </a:xfrm>
            <a:prstGeom prst="roundRect">
              <a:avLst>
                <a:gd name="adj" fmla="val 27129"/>
              </a:avLst>
            </a:prstGeom>
            <a:solidFill>
              <a:schemeClr val="bg1">
                <a:alpha val="20000"/>
              </a:schemeClr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72000" tIns="45720" rIns="720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Arrow: Striped Right 159">
              <a:extLst>
                <a:ext uri="{FF2B5EF4-FFF2-40B4-BE49-F238E27FC236}">
                  <a16:creationId xmlns="" xmlns:a16="http://schemas.microsoft.com/office/drawing/2014/main" id="{111CCA2D-FEE5-49B3-BE62-66614AFFC8B4}"/>
                </a:ext>
              </a:extLst>
            </p:cNvPr>
            <p:cNvSpPr/>
            <p:nvPr/>
          </p:nvSpPr>
          <p:spPr>
            <a:xfrm rot="5400000">
              <a:off x="6096174" y="2032419"/>
              <a:ext cx="307640" cy="410760"/>
            </a:xfrm>
            <a:prstGeom prst="stripedRightArrow">
              <a:avLst/>
            </a:prstGeom>
            <a:solidFill>
              <a:schemeClr val="bg1">
                <a:alpha val="41000"/>
              </a:schemeClr>
            </a:solidFill>
            <a:ln w="19050" cap="rnd" cmpd="sng" algn="ctr">
              <a:solidFill>
                <a:srgbClr val="FFFFFF">
                  <a:alpha val="72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vert="horz" wrap="none" lIns="72000" tIns="45720" rIns="720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62" name="Arrow: Striped Right 161">
              <a:extLst>
                <a:ext uri="{FF2B5EF4-FFF2-40B4-BE49-F238E27FC236}">
                  <a16:creationId xmlns="" xmlns:a16="http://schemas.microsoft.com/office/drawing/2014/main" id="{A1C8E6CE-00EF-4912-BF51-85826E91FA9A}"/>
                </a:ext>
              </a:extLst>
            </p:cNvPr>
            <p:cNvSpPr/>
            <p:nvPr/>
          </p:nvSpPr>
          <p:spPr>
            <a:xfrm rot="5400000">
              <a:off x="8761054" y="2032419"/>
              <a:ext cx="307640" cy="410760"/>
            </a:xfrm>
            <a:prstGeom prst="stripedRightArrow">
              <a:avLst/>
            </a:prstGeom>
            <a:solidFill>
              <a:schemeClr val="bg1">
                <a:alpha val="41000"/>
              </a:schemeClr>
            </a:solidFill>
            <a:ln w="19050" cap="rnd" cmpd="sng" algn="ctr">
              <a:solidFill>
                <a:srgbClr val="FFFFFF">
                  <a:alpha val="72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 vert="horz" wrap="none" lIns="72000" tIns="45720" rIns="720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grpSp>
          <p:nvGrpSpPr>
            <p:cNvPr id="163" name="Group 162">
              <a:extLst>
                <a:ext uri="{FF2B5EF4-FFF2-40B4-BE49-F238E27FC236}">
                  <a16:creationId xmlns="" xmlns:a16="http://schemas.microsoft.com/office/drawing/2014/main" id="{DF2A5E10-3C55-4007-83D3-E31967722F95}"/>
                </a:ext>
              </a:extLst>
            </p:cNvPr>
            <p:cNvGrpSpPr/>
            <p:nvPr/>
          </p:nvGrpSpPr>
          <p:grpSpPr>
            <a:xfrm>
              <a:off x="5173139" y="1269000"/>
              <a:ext cx="4709501" cy="522281"/>
              <a:chOff x="6194915" y="1411488"/>
              <a:chExt cx="5205682" cy="577307"/>
            </a:xfrm>
          </p:grpSpPr>
          <p:sp>
            <p:nvSpPr>
              <p:cNvPr id="164" name="Freeform 3">
                <a:extLst>
                  <a:ext uri="{FF2B5EF4-FFF2-40B4-BE49-F238E27FC236}">
                    <a16:creationId xmlns="" xmlns:a16="http://schemas.microsoft.com/office/drawing/2014/main" id="{AFC2F191-1943-444A-AC96-B563A33B97B7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8105101" y="1420985"/>
                <a:ext cx="596494" cy="482065"/>
              </a:xfrm>
              <a:custGeom>
                <a:avLst/>
                <a:gdLst>
                  <a:gd name="T0" fmla="*/ 2147483647 w 311"/>
                  <a:gd name="T1" fmla="*/ 2147483647 h 252"/>
                  <a:gd name="T2" fmla="*/ 2147483647 w 311"/>
                  <a:gd name="T3" fmla="*/ 2147483647 h 252"/>
                  <a:gd name="T4" fmla="*/ 2147483647 w 311"/>
                  <a:gd name="T5" fmla="*/ 2147483647 h 252"/>
                  <a:gd name="T6" fmla="*/ 2147483647 w 311"/>
                  <a:gd name="T7" fmla="*/ 2147483647 h 252"/>
                  <a:gd name="T8" fmla="*/ 2147483647 w 311"/>
                  <a:gd name="T9" fmla="*/ 2147483647 h 252"/>
                  <a:gd name="T10" fmla="*/ 2147483647 w 311"/>
                  <a:gd name="T11" fmla="*/ 2147483647 h 252"/>
                  <a:gd name="T12" fmla="*/ 2147483647 w 311"/>
                  <a:gd name="T13" fmla="*/ 2147483647 h 252"/>
                  <a:gd name="T14" fmla="*/ 2147483647 w 311"/>
                  <a:gd name="T15" fmla="*/ 2147483647 h 252"/>
                  <a:gd name="T16" fmla="*/ 2147483647 w 311"/>
                  <a:gd name="T17" fmla="*/ 2147483647 h 252"/>
                  <a:gd name="T18" fmla="*/ 2147483647 w 311"/>
                  <a:gd name="T19" fmla="*/ 2147483647 h 252"/>
                  <a:gd name="T20" fmla="*/ 2147483647 w 311"/>
                  <a:gd name="T21" fmla="*/ 2147483647 h 252"/>
                  <a:gd name="T22" fmla="*/ 2147483647 w 311"/>
                  <a:gd name="T23" fmla="*/ 2147483647 h 252"/>
                  <a:gd name="T24" fmla="*/ 2147483647 w 311"/>
                  <a:gd name="T25" fmla="*/ 0 h 252"/>
                  <a:gd name="T26" fmla="*/ 2147483647 w 311"/>
                  <a:gd name="T27" fmla="*/ 2147483647 h 252"/>
                  <a:gd name="T28" fmla="*/ 2147483647 w 311"/>
                  <a:gd name="T29" fmla="*/ 2147483647 h 252"/>
                  <a:gd name="T30" fmla="*/ 2147483647 w 311"/>
                  <a:gd name="T31" fmla="*/ 2147483647 h 252"/>
                  <a:gd name="T32" fmla="*/ 2147483647 w 311"/>
                  <a:gd name="T33" fmla="*/ 2147483647 h 252"/>
                  <a:gd name="T34" fmla="*/ 2147483647 w 311"/>
                  <a:gd name="T35" fmla="*/ 2147483647 h 252"/>
                  <a:gd name="T36" fmla="*/ 2147483647 w 311"/>
                  <a:gd name="T37" fmla="*/ 2147483647 h 252"/>
                  <a:gd name="T38" fmla="*/ 2147483647 w 311"/>
                  <a:gd name="T39" fmla="*/ 2147483647 h 252"/>
                  <a:gd name="T40" fmla="*/ 2147483647 w 311"/>
                  <a:gd name="T41" fmla="*/ 2147483647 h 252"/>
                  <a:gd name="T42" fmla="*/ 2147483647 w 311"/>
                  <a:gd name="T43" fmla="*/ 2147483647 h 252"/>
                  <a:gd name="T44" fmla="*/ 2147483647 w 311"/>
                  <a:gd name="T45" fmla="*/ 2147483647 h 252"/>
                  <a:gd name="T46" fmla="*/ 2147483647 w 311"/>
                  <a:gd name="T47" fmla="*/ 2147483647 h 252"/>
                  <a:gd name="T48" fmla="*/ 2147483647 w 311"/>
                  <a:gd name="T49" fmla="*/ 2147483647 h 252"/>
                  <a:gd name="T50" fmla="*/ 2147483647 w 311"/>
                  <a:gd name="T51" fmla="*/ 2147483647 h 252"/>
                  <a:gd name="T52" fmla="*/ 2147483647 w 311"/>
                  <a:gd name="T53" fmla="*/ 2147483647 h 252"/>
                  <a:gd name="T54" fmla="*/ 2147483647 w 311"/>
                  <a:gd name="T55" fmla="*/ 2147483647 h 252"/>
                  <a:gd name="T56" fmla="*/ 2147483647 w 311"/>
                  <a:gd name="T57" fmla="*/ 2147483647 h 252"/>
                  <a:gd name="T58" fmla="*/ 2147483647 w 311"/>
                  <a:gd name="T59" fmla="*/ 2147483647 h 252"/>
                  <a:gd name="T60" fmla="*/ 2147483647 w 311"/>
                  <a:gd name="T61" fmla="*/ 2147483647 h 252"/>
                  <a:gd name="T62" fmla="*/ 2147483647 w 311"/>
                  <a:gd name="T63" fmla="*/ 2147483647 h 252"/>
                  <a:gd name="T64" fmla="*/ 2147483647 w 311"/>
                  <a:gd name="T65" fmla="*/ 2147483647 h 252"/>
                  <a:gd name="T66" fmla="*/ 2147483647 w 311"/>
                  <a:gd name="T67" fmla="*/ 2147483647 h 252"/>
                  <a:gd name="T68" fmla="*/ 2147483647 w 311"/>
                  <a:gd name="T69" fmla="*/ 2147483647 h 252"/>
                  <a:gd name="T70" fmla="*/ 2147483647 w 311"/>
                  <a:gd name="T71" fmla="*/ 2147483647 h 252"/>
                  <a:gd name="T72" fmla="*/ 2147483647 w 311"/>
                  <a:gd name="T73" fmla="*/ 2147483647 h 252"/>
                  <a:gd name="T74" fmla="*/ 2147483647 w 311"/>
                  <a:gd name="T75" fmla="*/ 2147483647 h 252"/>
                  <a:gd name="T76" fmla="*/ 2147483647 w 311"/>
                  <a:gd name="T77" fmla="*/ 2147483647 h 252"/>
                  <a:gd name="T78" fmla="*/ 2147483647 w 311"/>
                  <a:gd name="T79" fmla="*/ 2147483647 h 252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311" h="252">
                    <a:moveTo>
                      <a:pt x="303" y="236"/>
                    </a:moveTo>
                    <a:cubicBezTo>
                      <a:pt x="303" y="236"/>
                      <a:pt x="303" y="236"/>
                      <a:pt x="303" y="236"/>
                    </a:cubicBezTo>
                    <a:cubicBezTo>
                      <a:pt x="280" y="236"/>
                      <a:pt x="280" y="236"/>
                      <a:pt x="280" y="236"/>
                    </a:cubicBezTo>
                    <a:cubicBezTo>
                      <a:pt x="280" y="140"/>
                      <a:pt x="280" y="140"/>
                      <a:pt x="280" y="140"/>
                    </a:cubicBezTo>
                    <a:cubicBezTo>
                      <a:pt x="280" y="135"/>
                      <a:pt x="276" y="132"/>
                      <a:pt x="272" y="132"/>
                    </a:cubicBezTo>
                    <a:cubicBezTo>
                      <a:pt x="267" y="132"/>
                      <a:pt x="264" y="135"/>
                      <a:pt x="264" y="140"/>
                    </a:cubicBezTo>
                    <a:cubicBezTo>
                      <a:pt x="264" y="244"/>
                      <a:pt x="264" y="244"/>
                      <a:pt x="264" y="244"/>
                    </a:cubicBezTo>
                    <a:cubicBezTo>
                      <a:pt x="264" y="246"/>
                      <a:pt x="265" y="248"/>
                      <a:pt x="266" y="249"/>
                    </a:cubicBezTo>
                    <a:cubicBezTo>
                      <a:pt x="268" y="251"/>
                      <a:pt x="270" y="252"/>
                      <a:pt x="272" y="252"/>
                    </a:cubicBezTo>
                    <a:cubicBezTo>
                      <a:pt x="303" y="252"/>
                      <a:pt x="303" y="252"/>
                      <a:pt x="303" y="252"/>
                    </a:cubicBezTo>
                    <a:cubicBezTo>
                      <a:pt x="308" y="252"/>
                      <a:pt x="311" y="248"/>
                      <a:pt x="311" y="244"/>
                    </a:cubicBezTo>
                    <a:cubicBezTo>
                      <a:pt x="311" y="239"/>
                      <a:pt x="308" y="236"/>
                      <a:pt x="303" y="236"/>
                    </a:cubicBezTo>
                    <a:close/>
                    <a:moveTo>
                      <a:pt x="272" y="116"/>
                    </a:moveTo>
                    <a:cubicBezTo>
                      <a:pt x="276" y="116"/>
                      <a:pt x="280" y="112"/>
                      <a:pt x="280" y="108"/>
                    </a:cubicBezTo>
                    <a:cubicBezTo>
                      <a:pt x="280" y="78"/>
                      <a:pt x="280" y="78"/>
                      <a:pt x="280" y="78"/>
                    </a:cubicBezTo>
                    <a:cubicBezTo>
                      <a:pt x="280" y="76"/>
                      <a:pt x="279" y="74"/>
                      <a:pt x="277" y="73"/>
                    </a:cubicBezTo>
                    <a:cubicBezTo>
                      <a:pt x="276" y="71"/>
                      <a:pt x="274" y="70"/>
                      <a:pt x="272" y="70"/>
                    </a:cubicBezTo>
                    <a:cubicBezTo>
                      <a:pt x="228" y="70"/>
                      <a:pt x="228" y="70"/>
                      <a:pt x="228" y="70"/>
                    </a:cubicBezTo>
                    <a:cubicBezTo>
                      <a:pt x="226" y="70"/>
                      <a:pt x="224" y="71"/>
                      <a:pt x="223" y="73"/>
                    </a:cubicBezTo>
                    <a:cubicBezTo>
                      <a:pt x="221" y="74"/>
                      <a:pt x="220" y="76"/>
                      <a:pt x="220" y="78"/>
                    </a:cubicBezTo>
                    <a:cubicBezTo>
                      <a:pt x="220" y="201"/>
                      <a:pt x="220" y="201"/>
                      <a:pt x="220" y="201"/>
                    </a:cubicBezTo>
                    <a:cubicBezTo>
                      <a:pt x="208" y="201"/>
                      <a:pt x="208" y="201"/>
                      <a:pt x="208" y="201"/>
                    </a:cubicBezTo>
                    <a:cubicBezTo>
                      <a:pt x="208" y="8"/>
                      <a:pt x="208" y="8"/>
                      <a:pt x="208" y="8"/>
                    </a:cubicBezTo>
                    <a:cubicBezTo>
                      <a:pt x="208" y="6"/>
                      <a:pt x="207" y="4"/>
                      <a:pt x="206" y="3"/>
                    </a:cubicBezTo>
                    <a:cubicBezTo>
                      <a:pt x="205" y="1"/>
                      <a:pt x="202" y="0"/>
                      <a:pt x="200" y="0"/>
                    </a:cubicBezTo>
                    <a:cubicBezTo>
                      <a:pt x="159" y="0"/>
                      <a:pt x="159" y="0"/>
                      <a:pt x="159" y="0"/>
                    </a:cubicBezTo>
                    <a:cubicBezTo>
                      <a:pt x="157" y="0"/>
                      <a:pt x="155" y="1"/>
                      <a:pt x="153" y="3"/>
                    </a:cubicBezTo>
                    <a:cubicBezTo>
                      <a:pt x="152" y="4"/>
                      <a:pt x="151" y="6"/>
                      <a:pt x="151" y="8"/>
                    </a:cubicBezTo>
                    <a:cubicBezTo>
                      <a:pt x="151" y="102"/>
                      <a:pt x="151" y="102"/>
                      <a:pt x="151" y="102"/>
                    </a:cubicBezTo>
                    <a:cubicBezTo>
                      <a:pt x="148" y="102"/>
                      <a:pt x="148" y="102"/>
                      <a:pt x="148" y="102"/>
                    </a:cubicBezTo>
                    <a:cubicBezTo>
                      <a:pt x="146" y="102"/>
                      <a:pt x="143" y="103"/>
                      <a:pt x="142" y="104"/>
                    </a:cubicBezTo>
                    <a:cubicBezTo>
                      <a:pt x="141" y="106"/>
                      <a:pt x="140" y="108"/>
                      <a:pt x="140" y="110"/>
                    </a:cubicBezTo>
                    <a:cubicBezTo>
                      <a:pt x="140" y="160"/>
                      <a:pt x="140" y="160"/>
                      <a:pt x="140" y="160"/>
                    </a:cubicBezTo>
                    <a:cubicBezTo>
                      <a:pt x="127" y="160"/>
                      <a:pt x="127" y="160"/>
                      <a:pt x="127" y="160"/>
                    </a:cubicBezTo>
                    <a:cubicBezTo>
                      <a:pt x="127" y="38"/>
                      <a:pt x="127" y="38"/>
                      <a:pt x="127" y="38"/>
                    </a:cubicBezTo>
                    <a:cubicBezTo>
                      <a:pt x="127" y="36"/>
                      <a:pt x="126" y="34"/>
                      <a:pt x="124" y="32"/>
                    </a:cubicBezTo>
                    <a:cubicBezTo>
                      <a:pt x="103" y="16"/>
                      <a:pt x="103" y="16"/>
                      <a:pt x="103" y="16"/>
                    </a:cubicBezTo>
                    <a:cubicBezTo>
                      <a:pt x="101" y="13"/>
                      <a:pt x="96" y="13"/>
                      <a:pt x="93" y="16"/>
                    </a:cubicBezTo>
                    <a:cubicBezTo>
                      <a:pt x="73" y="32"/>
                      <a:pt x="73" y="32"/>
                      <a:pt x="73" y="32"/>
                    </a:cubicBezTo>
                    <a:cubicBezTo>
                      <a:pt x="71" y="34"/>
                      <a:pt x="70" y="36"/>
                      <a:pt x="70" y="38"/>
                    </a:cubicBezTo>
                    <a:cubicBezTo>
                      <a:pt x="70" y="122"/>
                      <a:pt x="70" y="122"/>
                      <a:pt x="70" y="122"/>
                    </a:cubicBezTo>
                    <a:cubicBezTo>
                      <a:pt x="40" y="122"/>
                      <a:pt x="40" y="122"/>
                      <a:pt x="40" y="122"/>
                    </a:cubicBezTo>
                    <a:cubicBezTo>
                      <a:pt x="38" y="122"/>
                      <a:pt x="36" y="123"/>
                      <a:pt x="34" y="124"/>
                    </a:cubicBezTo>
                    <a:cubicBezTo>
                      <a:pt x="33" y="126"/>
                      <a:pt x="32" y="128"/>
                      <a:pt x="32" y="130"/>
                    </a:cubicBezTo>
                    <a:cubicBezTo>
                      <a:pt x="32" y="236"/>
                      <a:pt x="32" y="236"/>
                      <a:pt x="32" y="236"/>
                    </a:cubicBezTo>
                    <a:cubicBezTo>
                      <a:pt x="8" y="236"/>
                      <a:pt x="8" y="236"/>
                      <a:pt x="8" y="236"/>
                    </a:cubicBezTo>
                    <a:cubicBezTo>
                      <a:pt x="3" y="236"/>
                      <a:pt x="0" y="239"/>
                      <a:pt x="0" y="244"/>
                    </a:cubicBezTo>
                    <a:cubicBezTo>
                      <a:pt x="0" y="248"/>
                      <a:pt x="3" y="252"/>
                      <a:pt x="8" y="252"/>
                    </a:cubicBezTo>
                    <a:cubicBezTo>
                      <a:pt x="40" y="252"/>
                      <a:pt x="40" y="252"/>
                      <a:pt x="40" y="252"/>
                    </a:cubicBezTo>
                    <a:cubicBezTo>
                      <a:pt x="42" y="252"/>
                      <a:pt x="44" y="251"/>
                      <a:pt x="45" y="249"/>
                    </a:cubicBezTo>
                    <a:cubicBezTo>
                      <a:pt x="47" y="248"/>
                      <a:pt x="48" y="246"/>
                      <a:pt x="48" y="244"/>
                    </a:cubicBezTo>
                    <a:cubicBezTo>
                      <a:pt x="48" y="138"/>
                      <a:pt x="48" y="138"/>
                      <a:pt x="48" y="138"/>
                    </a:cubicBezTo>
                    <a:cubicBezTo>
                      <a:pt x="78" y="138"/>
                      <a:pt x="78" y="138"/>
                      <a:pt x="78" y="138"/>
                    </a:cubicBezTo>
                    <a:cubicBezTo>
                      <a:pt x="80" y="138"/>
                      <a:pt x="82" y="137"/>
                      <a:pt x="83" y="136"/>
                    </a:cubicBezTo>
                    <a:cubicBezTo>
                      <a:pt x="85" y="134"/>
                      <a:pt x="86" y="132"/>
                      <a:pt x="86" y="130"/>
                    </a:cubicBezTo>
                    <a:cubicBezTo>
                      <a:pt x="86" y="42"/>
                      <a:pt x="86" y="42"/>
                      <a:pt x="86" y="42"/>
                    </a:cubicBezTo>
                    <a:cubicBezTo>
                      <a:pt x="98" y="32"/>
                      <a:pt x="98" y="32"/>
                      <a:pt x="98" y="32"/>
                    </a:cubicBezTo>
                    <a:cubicBezTo>
                      <a:pt x="111" y="42"/>
                      <a:pt x="111" y="42"/>
                      <a:pt x="111" y="42"/>
                    </a:cubicBezTo>
                    <a:cubicBezTo>
                      <a:pt x="111" y="168"/>
                      <a:pt x="111" y="168"/>
                      <a:pt x="111" y="168"/>
                    </a:cubicBezTo>
                    <a:cubicBezTo>
                      <a:pt x="111" y="171"/>
                      <a:pt x="112" y="173"/>
                      <a:pt x="113" y="174"/>
                    </a:cubicBezTo>
                    <a:cubicBezTo>
                      <a:pt x="115" y="176"/>
                      <a:pt x="117" y="176"/>
                      <a:pt x="119" y="176"/>
                    </a:cubicBezTo>
                    <a:cubicBezTo>
                      <a:pt x="148" y="176"/>
                      <a:pt x="148" y="176"/>
                      <a:pt x="148" y="176"/>
                    </a:cubicBezTo>
                    <a:cubicBezTo>
                      <a:pt x="150" y="176"/>
                      <a:pt x="152" y="176"/>
                      <a:pt x="153" y="174"/>
                    </a:cubicBezTo>
                    <a:cubicBezTo>
                      <a:pt x="155" y="173"/>
                      <a:pt x="156" y="171"/>
                      <a:pt x="156" y="168"/>
                    </a:cubicBezTo>
                    <a:cubicBezTo>
                      <a:pt x="156" y="118"/>
                      <a:pt x="156" y="118"/>
                      <a:pt x="156" y="118"/>
                    </a:cubicBezTo>
                    <a:cubicBezTo>
                      <a:pt x="159" y="118"/>
                      <a:pt x="159" y="118"/>
                      <a:pt x="159" y="118"/>
                    </a:cubicBezTo>
                    <a:cubicBezTo>
                      <a:pt x="161" y="118"/>
                      <a:pt x="163" y="117"/>
                      <a:pt x="165" y="115"/>
                    </a:cubicBezTo>
                    <a:cubicBezTo>
                      <a:pt x="166" y="114"/>
                      <a:pt x="167" y="112"/>
                      <a:pt x="167" y="110"/>
                    </a:cubicBezTo>
                    <a:cubicBezTo>
                      <a:pt x="167" y="16"/>
                      <a:pt x="167" y="16"/>
                      <a:pt x="167" y="16"/>
                    </a:cubicBezTo>
                    <a:cubicBezTo>
                      <a:pt x="192" y="16"/>
                      <a:pt x="192" y="16"/>
                      <a:pt x="192" y="16"/>
                    </a:cubicBezTo>
                    <a:cubicBezTo>
                      <a:pt x="192" y="209"/>
                      <a:pt x="192" y="209"/>
                      <a:pt x="192" y="209"/>
                    </a:cubicBezTo>
                    <a:cubicBezTo>
                      <a:pt x="192" y="211"/>
                      <a:pt x="193" y="213"/>
                      <a:pt x="195" y="215"/>
                    </a:cubicBezTo>
                    <a:cubicBezTo>
                      <a:pt x="196" y="216"/>
                      <a:pt x="198" y="217"/>
                      <a:pt x="200" y="217"/>
                    </a:cubicBezTo>
                    <a:cubicBezTo>
                      <a:pt x="228" y="217"/>
                      <a:pt x="228" y="217"/>
                      <a:pt x="228" y="217"/>
                    </a:cubicBezTo>
                    <a:cubicBezTo>
                      <a:pt x="230" y="217"/>
                      <a:pt x="232" y="216"/>
                      <a:pt x="234" y="215"/>
                    </a:cubicBezTo>
                    <a:cubicBezTo>
                      <a:pt x="235" y="213"/>
                      <a:pt x="236" y="211"/>
                      <a:pt x="236" y="209"/>
                    </a:cubicBezTo>
                    <a:cubicBezTo>
                      <a:pt x="236" y="86"/>
                      <a:pt x="236" y="86"/>
                      <a:pt x="236" y="86"/>
                    </a:cubicBezTo>
                    <a:cubicBezTo>
                      <a:pt x="264" y="86"/>
                      <a:pt x="264" y="86"/>
                      <a:pt x="264" y="86"/>
                    </a:cubicBezTo>
                    <a:cubicBezTo>
                      <a:pt x="264" y="108"/>
                      <a:pt x="264" y="108"/>
                      <a:pt x="264" y="108"/>
                    </a:cubicBezTo>
                    <a:cubicBezTo>
                      <a:pt x="264" y="112"/>
                      <a:pt x="267" y="116"/>
                      <a:pt x="272" y="1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58585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5" name="Freeform 3">
                <a:extLst>
                  <a:ext uri="{FF2B5EF4-FFF2-40B4-BE49-F238E27FC236}">
                    <a16:creationId xmlns="" xmlns:a16="http://schemas.microsoft.com/office/drawing/2014/main" id="{CEA2BB2A-3C6B-40AC-B43F-31886C45614B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6194915" y="1476394"/>
                <a:ext cx="553747" cy="371246"/>
              </a:xfrm>
              <a:custGeom>
                <a:avLst/>
                <a:gdLst>
                  <a:gd name="T0" fmla="*/ 2147483647 w 462"/>
                  <a:gd name="T1" fmla="*/ 2147483647 h 310"/>
                  <a:gd name="T2" fmla="*/ 2147483647 w 462"/>
                  <a:gd name="T3" fmla="*/ 2147483647 h 310"/>
                  <a:gd name="T4" fmla="*/ 2147483647 w 462"/>
                  <a:gd name="T5" fmla="*/ 2147483647 h 310"/>
                  <a:gd name="T6" fmla="*/ 2147483647 w 462"/>
                  <a:gd name="T7" fmla="*/ 2147483647 h 310"/>
                  <a:gd name="T8" fmla="*/ 2147483647 w 462"/>
                  <a:gd name="T9" fmla="*/ 2147483647 h 310"/>
                  <a:gd name="T10" fmla="*/ 2147483647 w 462"/>
                  <a:gd name="T11" fmla="*/ 2147483647 h 310"/>
                  <a:gd name="T12" fmla="*/ 2147483647 w 462"/>
                  <a:gd name="T13" fmla="*/ 2147483647 h 310"/>
                  <a:gd name="T14" fmla="*/ 2147483647 w 462"/>
                  <a:gd name="T15" fmla="*/ 2147483647 h 310"/>
                  <a:gd name="T16" fmla="*/ 2147483647 w 462"/>
                  <a:gd name="T17" fmla="*/ 2147483647 h 310"/>
                  <a:gd name="T18" fmla="*/ 2147483647 w 462"/>
                  <a:gd name="T19" fmla="*/ 2147483647 h 310"/>
                  <a:gd name="T20" fmla="*/ 2147483647 w 462"/>
                  <a:gd name="T21" fmla="*/ 2147483647 h 310"/>
                  <a:gd name="T22" fmla="*/ 2147483647 w 462"/>
                  <a:gd name="T23" fmla="*/ 2147483647 h 310"/>
                  <a:gd name="T24" fmla="*/ 2147483647 w 462"/>
                  <a:gd name="T25" fmla="*/ 2147483647 h 310"/>
                  <a:gd name="T26" fmla="*/ 2147483647 w 462"/>
                  <a:gd name="T27" fmla="*/ 2147483647 h 310"/>
                  <a:gd name="T28" fmla="*/ 2147483647 w 462"/>
                  <a:gd name="T29" fmla="*/ 2147483647 h 310"/>
                  <a:gd name="T30" fmla="*/ 2147483647 w 462"/>
                  <a:gd name="T31" fmla="*/ 2147483647 h 310"/>
                  <a:gd name="T32" fmla="*/ 2147483647 w 462"/>
                  <a:gd name="T33" fmla="*/ 2147483647 h 310"/>
                  <a:gd name="T34" fmla="*/ 2147483647 w 462"/>
                  <a:gd name="T35" fmla="*/ 2147483647 h 310"/>
                  <a:gd name="T36" fmla="*/ 2147483647 w 462"/>
                  <a:gd name="T37" fmla="*/ 2147483647 h 310"/>
                  <a:gd name="T38" fmla="*/ 2147483647 w 462"/>
                  <a:gd name="T39" fmla="*/ 2147483647 h 310"/>
                  <a:gd name="T40" fmla="*/ 2147483647 w 462"/>
                  <a:gd name="T41" fmla="*/ 2147483647 h 310"/>
                  <a:gd name="T42" fmla="*/ 2147483647 w 462"/>
                  <a:gd name="T43" fmla="*/ 2147483647 h 310"/>
                  <a:gd name="T44" fmla="*/ 2147483647 w 462"/>
                  <a:gd name="T45" fmla="*/ 2147483647 h 310"/>
                  <a:gd name="T46" fmla="*/ 2147483647 w 462"/>
                  <a:gd name="T47" fmla="*/ 2147483647 h 310"/>
                  <a:gd name="T48" fmla="*/ 2147483647 w 462"/>
                  <a:gd name="T49" fmla="*/ 2147483647 h 310"/>
                  <a:gd name="T50" fmla="*/ 2147483647 w 462"/>
                  <a:gd name="T51" fmla="*/ 2147483647 h 310"/>
                  <a:gd name="T52" fmla="*/ 2147483647 w 462"/>
                  <a:gd name="T53" fmla="*/ 2147483647 h 310"/>
                  <a:gd name="T54" fmla="*/ 2147483647 w 462"/>
                  <a:gd name="T55" fmla="*/ 2147483647 h 310"/>
                  <a:gd name="T56" fmla="*/ 2147483647 w 462"/>
                  <a:gd name="T57" fmla="*/ 2147483647 h 310"/>
                  <a:gd name="T58" fmla="*/ 2147483647 w 462"/>
                  <a:gd name="T59" fmla="*/ 2147483647 h 310"/>
                  <a:gd name="T60" fmla="*/ 2147483647 w 462"/>
                  <a:gd name="T61" fmla="*/ 2147483647 h 310"/>
                  <a:gd name="T62" fmla="*/ 2147483647 w 462"/>
                  <a:gd name="T63" fmla="*/ 2147483647 h 310"/>
                  <a:gd name="T64" fmla="*/ 2147483647 w 462"/>
                  <a:gd name="T65" fmla="*/ 2147483647 h 310"/>
                  <a:gd name="T66" fmla="*/ 2147483647 w 462"/>
                  <a:gd name="T67" fmla="*/ 2147483647 h 310"/>
                  <a:gd name="T68" fmla="*/ 2147483647 w 462"/>
                  <a:gd name="T69" fmla="*/ 2147483647 h 310"/>
                  <a:gd name="T70" fmla="*/ 2147483647 w 462"/>
                  <a:gd name="T71" fmla="*/ 2147483647 h 310"/>
                  <a:gd name="T72" fmla="*/ 2147483647 w 462"/>
                  <a:gd name="T73" fmla="*/ 2147483647 h 310"/>
                  <a:gd name="T74" fmla="*/ 2147483647 w 462"/>
                  <a:gd name="T75" fmla="*/ 2147483647 h 310"/>
                  <a:gd name="T76" fmla="*/ 2147483647 w 462"/>
                  <a:gd name="T77" fmla="*/ 2147483647 h 310"/>
                  <a:gd name="T78" fmla="*/ 2147483647 w 462"/>
                  <a:gd name="T79" fmla="*/ 2147483647 h 310"/>
                  <a:gd name="T80" fmla="*/ 2147483647 w 462"/>
                  <a:gd name="T81" fmla="*/ 2147483647 h 310"/>
                  <a:gd name="T82" fmla="*/ 2147483647 w 462"/>
                  <a:gd name="T83" fmla="*/ 2147483647 h 310"/>
                  <a:gd name="T84" fmla="*/ 2147483647 w 462"/>
                  <a:gd name="T85" fmla="*/ 2147483647 h 310"/>
                  <a:gd name="T86" fmla="*/ 2147483647 w 462"/>
                  <a:gd name="T87" fmla="*/ 2147483647 h 310"/>
                  <a:gd name="T88" fmla="*/ 2147483647 w 462"/>
                  <a:gd name="T89" fmla="*/ 2147483647 h 310"/>
                  <a:gd name="T90" fmla="*/ 2147483647 w 462"/>
                  <a:gd name="T91" fmla="*/ 2147483647 h 310"/>
                  <a:gd name="T92" fmla="*/ 2147483647 w 462"/>
                  <a:gd name="T93" fmla="*/ 2147483647 h 310"/>
                  <a:gd name="T94" fmla="*/ 2147483647 w 462"/>
                  <a:gd name="T95" fmla="*/ 2147483647 h 310"/>
                  <a:gd name="T96" fmla="*/ 2147483647 w 462"/>
                  <a:gd name="T97" fmla="*/ 2147483647 h 310"/>
                  <a:gd name="T98" fmla="*/ 2147483647 w 462"/>
                  <a:gd name="T99" fmla="*/ 2147483647 h 310"/>
                  <a:gd name="T100" fmla="*/ 2147483647 w 462"/>
                  <a:gd name="T101" fmla="*/ 2147483647 h 310"/>
                  <a:gd name="T102" fmla="*/ 2147483647 w 462"/>
                  <a:gd name="T103" fmla="*/ 2147483647 h 310"/>
                  <a:gd name="T104" fmla="*/ 2147483647 w 462"/>
                  <a:gd name="T105" fmla="*/ 2147483647 h 310"/>
                  <a:gd name="T106" fmla="*/ 2147483647 w 462"/>
                  <a:gd name="T107" fmla="*/ 2147483647 h 310"/>
                  <a:gd name="T108" fmla="*/ 2147483647 w 462"/>
                  <a:gd name="T109" fmla="*/ 2147483647 h 310"/>
                  <a:gd name="T110" fmla="*/ 2147483647 w 462"/>
                  <a:gd name="T111" fmla="*/ 2147483647 h 310"/>
                  <a:gd name="T112" fmla="*/ 2147483647 w 462"/>
                  <a:gd name="T113" fmla="*/ 2147483647 h 310"/>
                  <a:gd name="T114" fmla="*/ 2147483647 w 462"/>
                  <a:gd name="T115" fmla="*/ 2147483647 h 310"/>
                  <a:gd name="T116" fmla="*/ 2147483647 w 462"/>
                  <a:gd name="T117" fmla="*/ 2147483647 h 310"/>
                  <a:gd name="T118" fmla="*/ 2147483647 w 462"/>
                  <a:gd name="T119" fmla="*/ 2147483647 h 310"/>
                  <a:gd name="T120" fmla="*/ 2147483647 w 462"/>
                  <a:gd name="T121" fmla="*/ 2147483647 h 31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462"/>
                  <a:gd name="T184" fmla="*/ 0 h 310"/>
                  <a:gd name="T185" fmla="*/ 462 w 462"/>
                  <a:gd name="T186" fmla="*/ 310 h 310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462" h="310">
                    <a:moveTo>
                      <a:pt x="449" y="164"/>
                    </a:moveTo>
                    <a:cubicBezTo>
                      <a:pt x="444" y="158"/>
                      <a:pt x="438" y="152"/>
                      <a:pt x="432" y="148"/>
                    </a:cubicBezTo>
                    <a:cubicBezTo>
                      <a:pt x="440" y="138"/>
                      <a:pt x="445" y="125"/>
                      <a:pt x="445" y="111"/>
                    </a:cubicBezTo>
                    <a:cubicBezTo>
                      <a:pt x="445" y="101"/>
                      <a:pt x="442" y="92"/>
                      <a:pt x="439" y="85"/>
                    </a:cubicBezTo>
                    <a:cubicBezTo>
                      <a:pt x="433" y="71"/>
                      <a:pt x="422" y="61"/>
                      <a:pt x="409" y="55"/>
                    </a:cubicBezTo>
                    <a:cubicBezTo>
                      <a:pt x="401" y="51"/>
                      <a:pt x="392" y="49"/>
                      <a:pt x="383" y="49"/>
                    </a:cubicBezTo>
                    <a:cubicBezTo>
                      <a:pt x="349" y="49"/>
                      <a:pt x="321" y="77"/>
                      <a:pt x="321" y="111"/>
                    </a:cubicBezTo>
                    <a:cubicBezTo>
                      <a:pt x="321" y="125"/>
                      <a:pt x="326" y="138"/>
                      <a:pt x="334" y="149"/>
                    </a:cubicBezTo>
                    <a:cubicBezTo>
                      <a:pt x="330" y="151"/>
                      <a:pt x="325" y="154"/>
                      <a:pt x="322" y="158"/>
                    </a:cubicBezTo>
                    <a:cubicBezTo>
                      <a:pt x="321" y="157"/>
                      <a:pt x="320" y="155"/>
                      <a:pt x="318" y="153"/>
                    </a:cubicBezTo>
                    <a:cubicBezTo>
                      <a:pt x="312" y="144"/>
                      <a:pt x="303" y="136"/>
                      <a:pt x="293" y="131"/>
                    </a:cubicBezTo>
                    <a:cubicBezTo>
                      <a:pt x="305" y="117"/>
                      <a:pt x="312" y="99"/>
                      <a:pt x="312" y="80"/>
                    </a:cubicBezTo>
                    <a:cubicBezTo>
                      <a:pt x="312" y="68"/>
                      <a:pt x="309" y="56"/>
                      <a:pt x="304" y="46"/>
                    </a:cubicBezTo>
                    <a:cubicBezTo>
                      <a:pt x="302" y="42"/>
                      <a:pt x="301" y="39"/>
                      <a:pt x="299" y="36"/>
                    </a:cubicBezTo>
                    <a:cubicBezTo>
                      <a:pt x="296" y="32"/>
                      <a:pt x="291" y="31"/>
                      <a:pt x="288" y="34"/>
                    </a:cubicBezTo>
                    <a:cubicBezTo>
                      <a:pt x="284" y="36"/>
                      <a:pt x="283" y="41"/>
                      <a:pt x="285" y="45"/>
                    </a:cubicBezTo>
                    <a:cubicBezTo>
                      <a:pt x="287" y="47"/>
                      <a:pt x="288" y="50"/>
                      <a:pt x="290" y="53"/>
                    </a:cubicBezTo>
                    <a:cubicBezTo>
                      <a:pt x="293" y="61"/>
                      <a:pt x="296" y="70"/>
                      <a:pt x="296" y="80"/>
                    </a:cubicBezTo>
                    <a:cubicBezTo>
                      <a:pt x="296" y="99"/>
                      <a:pt x="287" y="117"/>
                      <a:pt x="273" y="128"/>
                    </a:cubicBezTo>
                    <a:cubicBezTo>
                      <a:pt x="272" y="129"/>
                      <a:pt x="271" y="130"/>
                      <a:pt x="270" y="131"/>
                    </a:cubicBezTo>
                    <a:cubicBezTo>
                      <a:pt x="270" y="131"/>
                      <a:pt x="269" y="132"/>
                      <a:pt x="269" y="132"/>
                    </a:cubicBezTo>
                    <a:cubicBezTo>
                      <a:pt x="268" y="133"/>
                      <a:pt x="267" y="133"/>
                      <a:pt x="265" y="134"/>
                    </a:cubicBezTo>
                    <a:cubicBezTo>
                      <a:pt x="265" y="134"/>
                      <a:pt x="264" y="135"/>
                      <a:pt x="263" y="135"/>
                    </a:cubicBezTo>
                    <a:cubicBezTo>
                      <a:pt x="263" y="136"/>
                      <a:pt x="262" y="136"/>
                      <a:pt x="261" y="137"/>
                    </a:cubicBezTo>
                    <a:cubicBezTo>
                      <a:pt x="260" y="137"/>
                      <a:pt x="259" y="138"/>
                      <a:pt x="258" y="138"/>
                    </a:cubicBezTo>
                    <a:cubicBezTo>
                      <a:pt x="257" y="139"/>
                      <a:pt x="256" y="139"/>
                      <a:pt x="255" y="139"/>
                    </a:cubicBezTo>
                    <a:cubicBezTo>
                      <a:pt x="254" y="140"/>
                      <a:pt x="253" y="140"/>
                      <a:pt x="252" y="140"/>
                    </a:cubicBezTo>
                    <a:cubicBezTo>
                      <a:pt x="251" y="141"/>
                      <a:pt x="251" y="141"/>
                      <a:pt x="250" y="141"/>
                    </a:cubicBezTo>
                    <a:cubicBezTo>
                      <a:pt x="249" y="142"/>
                      <a:pt x="247" y="142"/>
                      <a:pt x="246" y="142"/>
                    </a:cubicBezTo>
                    <a:cubicBezTo>
                      <a:pt x="245" y="142"/>
                      <a:pt x="245" y="143"/>
                      <a:pt x="244" y="143"/>
                    </a:cubicBezTo>
                    <a:cubicBezTo>
                      <a:pt x="243" y="143"/>
                      <a:pt x="241" y="143"/>
                      <a:pt x="240" y="143"/>
                    </a:cubicBezTo>
                    <a:cubicBezTo>
                      <a:pt x="239" y="143"/>
                      <a:pt x="238" y="144"/>
                      <a:pt x="238" y="144"/>
                    </a:cubicBezTo>
                    <a:cubicBezTo>
                      <a:pt x="236" y="144"/>
                      <a:pt x="234" y="144"/>
                      <a:pt x="233" y="144"/>
                    </a:cubicBezTo>
                    <a:cubicBezTo>
                      <a:pt x="232" y="144"/>
                      <a:pt x="232" y="144"/>
                      <a:pt x="232" y="144"/>
                    </a:cubicBezTo>
                    <a:cubicBezTo>
                      <a:pt x="231" y="144"/>
                      <a:pt x="231" y="144"/>
                      <a:pt x="230" y="144"/>
                    </a:cubicBezTo>
                    <a:cubicBezTo>
                      <a:pt x="229" y="144"/>
                      <a:pt x="227" y="144"/>
                      <a:pt x="225" y="144"/>
                    </a:cubicBezTo>
                    <a:cubicBezTo>
                      <a:pt x="225" y="144"/>
                      <a:pt x="224" y="143"/>
                      <a:pt x="223" y="143"/>
                    </a:cubicBezTo>
                    <a:cubicBezTo>
                      <a:pt x="222" y="143"/>
                      <a:pt x="221" y="143"/>
                      <a:pt x="219" y="143"/>
                    </a:cubicBezTo>
                    <a:cubicBezTo>
                      <a:pt x="218" y="143"/>
                      <a:pt x="218" y="142"/>
                      <a:pt x="217" y="142"/>
                    </a:cubicBezTo>
                    <a:cubicBezTo>
                      <a:pt x="216" y="142"/>
                      <a:pt x="214" y="142"/>
                      <a:pt x="213" y="141"/>
                    </a:cubicBezTo>
                    <a:cubicBezTo>
                      <a:pt x="212" y="141"/>
                      <a:pt x="212" y="141"/>
                      <a:pt x="211" y="140"/>
                    </a:cubicBezTo>
                    <a:cubicBezTo>
                      <a:pt x="210" y="140"/>
                      <a:pt x="209" y="140"/>
                      <a:pt x="208" y="139"/>
                    </a:cubicBezTo>
                    <a:cubicBezTo>
                      <a:pt x="207" y="139"/>
                      <a:pt x="206" y="138"/>
                      <a:pt x="205" y="138"/>
                    </a:cubicBezTo>
                    <a:cubicBezTo>
                      <a:pt x="204" y="138"/>
                      <a:pt x="203" y="137"/>
                      <a:pt x="202" y="137"/>
                    </a:cubicBezTo>
                    <a:cubicBezTo>
                      <a:pt x="201" y="136"/>
                      <a:pt x="200" y="136"/>
                      <a:pt x="199" y="135"/>
                    </a:cubicBezTo>
                    <a:cubicBezTo>
                      <a:pt x="199" y="135"/>
                      <a:pt x="198" y="135"/>
                      <a:pt x="198" y="134"/>
                    </a:cubicBezTo>
                    <a:cubicBezTo>
                      <a:pt x="197" y="133"/>
                      <a:pt x="195" y="133"/>
                      <a:pt x="194" y="132"/>
                    </a:cubicBezTo>
                    <a:cubicBezTo>
                      <a:pt x="194" y="132"/>
                      <a:pt x="194" y="131"/>
                      <a:pt x="193" y="131"/>
                    </a:cubicBezTo>
                    <a:cubicBezTo>
                      <a:pt x="192" y="130"/>
                      <a:pt x="191" y="129"/>
                      <a:pt x="190" y="128"/>
                    </a:cubicBezTo>
                    <a:cubicBezTo>
                      <a:pt x="176" y="117"/>
                      <a:pt x="167" y="99"/>
                      <a:pt x="167" y="80"/>
                    </a:cubicBezTo>
                    <a:cubicBezTo>
                      <a:pt x="167" y="44"/>
                      <a:pt x="196" y="16"/>
                      <a:pt x="232" y="16"/>
                    </a:cubicBezTo>
                    <a:cubicBezTo>
                      <a:pt x="241" y="16"/>
                      <a:pt x="250" y="18"/>
                      <a:pt x="259" y="22"/>
                    </a:cubicBezTo>
                    <a:cubicBezTo>
                      <a:pt x="262" y="23"/>
                      <a:pt x="264" y="25"/>
                      <a:pt x="267" y="26"/>
                    </a:cubicBezTo>
                    <a:cubicBezTo>
                      <a:pt x="271" y="29"/>
                      <a:pt x="276" y="28"/>
                      <a:pt x="278" y="24"/>
                    </a:cubicBezTo>
                    <a:cubicBezTo>
                      <a:pt x="280" y="20"/>
                      <a:pt x="279" y="15"/>
                      <a:pt x="276" y="13"/>
                    </a:cubicBezTo>
                    <a:cubicBezTo>
                      <a:pt x="276" y="13"/>
                      <a:pt x="276" y="13"/>
                      <a:pt x="276" y="13"/>
                    </a:cubicBezTo>
                    <a:cubicBezTo>
                      <a:pt x="272" y="11"/>
                      <a:pt x="269" y="9"/>
                      <a:pt x="266" y="7"/>
                    </a:cubicBezTo>
                    <a:cubicBezTo>
                      <a:pt x="255" y="2"/>
                      <a:pt x="244" y="0"/>
                      <a:pt x="232" y="0"/>
                    </a:cubicBezTo>
                    <a:cubicBezTo>
                      <a:pt x="187" y="0"/>
                      <a:pt x="151" y="36"/>
                      <a:pt x="151" y="80"/>
                    </a:cubicBezTo>
                    <a:cubicBezTo>
                      <a:pt x="151" y="99"/>
                      <a:pt x="158" y="117"/>
                      <a:pt x="170" y="131"/>
                    </a:cubicBezTo>
                    <a:cubicBezTo>
                      <a:pt x="160" y="136"/>
                      <a:pt x="151" y="144"/>
                      <a:pt x="145" y="153"/>
                    </a:cubicBezTo>
                    <a:cubicBezTo>
                      <a:pt x="143" y="155"/>
                      <a:pt x="142" y="157"/>
                      <a:pt x="141" y="159"/>
                    </a:cubicBezTo>
                    <a:cubicBezTo>
                      <a:pt x="137" y="155"/>
                      <a:pt x="133" y="151"/>
                      <a:pt x="128" y="149"/>
                    </a:cubicBezTo>
                    <a:cubicBezTo>
                      <a:pt x="136" y="138"/>
                      <a:pt x="141" y="125"/>
                      <a:pt x="141" y="111"/>
                    </a:cubicBezTo>
                    <a:cubicBezTo>
                      <a:pt x="141" y="101"/>
                      <a:pt x="139" y="92"/>
                      <a:pt x="135" y="85"/>
                    </a:cubicBezTo>
                    <a:cubicBezTo>
                      <a:pt x="129" y="71"/>
                      <a:pt x="119" y="61"/>
                      <a:pt x="105" y="55"/>
                    </a:cubicBezTo>
                    <a:cubicBezTo>
                      <a:pt x="98" y="51"/>
                      <a:pt x="89" y="49"/>
                      <a:pt x="79" y="49"/>
                    </a:cubicBezTo>
                    <a:cubicBezTo>
                      <a:pt x="45" y="49"/>
                      <a:pt x="17" y="77"/>
                      <a:pt x="17" y="111"/>
                    </a:cubicBezTo>
                    <a:cubicBezTo>
                      <a:pt x="17" y="125"/>
                      <a:pt x="22" y="138"/>
                      <a:pt x="30" y="148"/>
                    </a:cubicBezTo>
                    <a:cubicBezTo>
                      <a:pt x="24" y="152"/>
                      <a:pt x="18" y="158"/>
                      <a:pt x="13" y="164"/>
                    </a:cubicBezTo>
                    <a:cubicBezTo>
                      <a:pt x="5" y="174"/>
                      <a:pt x="0" y="186"/>
                      <a:pt x="0" y="197"/>
                    </a:cubicBezTo>
                    <a:cubicBezTo>
                      <a:pt x="0" y="218"/>
                      <a:pt x="0" y="266"/>
                      <a:pt x="0" y="266"/>
                    </a:cubicBezTo>
                    <a:cubicBezTo>
                      <a:pt x="0" y="275"/>
                      <a:pt x="7" y="284"/>
                      <a:pt x="17" y="284"/>
                    </a:cubicBezTo>
                    <a:cubicBezTo>
                      <a:pt x="128" y="284"/>
                      <a:pt x="128" y="284"/>
                      <a:pt x="128" y="284"/>
                    </a:cubicBezTo>
                    <a:cubicBezTo>
                      <a:pt x="128" y="287"/>
                      <a:pt x="128" y="288"/>
                      <a:pt x="128" y="288"/>
                    </a:cubicBezTo>
                    <a:cubicBezTo>
                      <a:pt x="129" y="299"/>
                      <a:pt x="137" y="309"/>
                      <a:pt x="149" y="310"/>
                    </a:cubicBezTo>
                    <a:cubicBezTo>
                      <a:pt x="314" y="310"/>
                      <a:pt x="314" y="310"/>
                      <a:pt x="314" y="310"/>
                    </a:cubicBezTo>
                    <a:cubicBezTo>
                      <a:pt x="326" y="309"/>
                      <a:pt x="335" y="299"/>
                      <a:pt x="335" y="288"/>
                    </a:cubicBezTo>
                    <a:cubicBezTo>
                      <a:pt x="335" y="288"/>
                      <a:pt x="335" y="287"/>
                      <a:pt x="335" y="284"/>
                    </a:cubicBezTo>
                    <a:cubicBezTo>
                      <a:pt x="445" y="284"/>
                      <a:pt x="445" y="284"/>
                      <a:pt x="445" y="284"/>
                    </a:cubicBezTo>
                    <a:cubicBezTo>
                      <a:pt x="455" y="284"/>
                      <a:pt x="462" y="275"/>
                      <a:pt x="462" y="266"/>
                    </a:cubicBezTo>
                    <a:cubicBezTo>
                      <a:pt x="462" y="266"/>
                      <a:pt x="462" y="218"/>
                      <a:pt x="462" y="197"/>
                    </a:cubicBezTo>
                    <a:cubicBezTo>
                      <a:pt x="462" y="186"/>
                      <a:pt x="457" y="174"/>
                      <a:pt x="449" y="164"/>
                    </a:cubicBezTo>
                    <a:close/>
                    <a:moveTo>
                      <a:pt x="383" y="65"/>
                    </a:moveTo>
                    <a:cubicBezTo>
                      <a:pt x="390" y="65"/>
                      <a:pt x="396" y="67"/>
                      <a:pt x="402" y="69"/>
                    </a:cubicBezTo>
                    <a:cubicBezTo>
                      <a:pt x="412" y="74"/>
                      <a:pt x="420" y="82"/>
                      <a:pt x="424" y="91"/>
                    </a:cubicBezTo>
                    <a:cubicBezTo>
                      <a:pt x="427" y="97"/>
                      <a:pt x="429" y="104"/>
                      <a:pt x="429" y="111"/>
                    </a:cubicBezTo>
                    <a:cubicBezTo>
                      <a:pt x="429" y="125"/>
                      <a:pt x="422" y="137"/>
                      <a:pt x="412" y="146"/>
                    </a:cubicBezTo>
                    <a:cubicBezTo>
                      <a:pt x="412" y="146"/>
                      <a:pt x="411" y="147"/>
                      <a:pt x="410" y="147"/>
                    </a:cubicBezTo>
                    <a:cubicBezTo>
                      <a:pt x="410" y="147"/>
                      <a:pt x="410" y="148"/>
                      <a:pt x="409" y="148"/>
                    </a:cubicBezTo>
                    <a:cubicBezTo>
                      <a:pt x="409" y="149"/>
                      <a:pt x="408" y="149"/>
                      <a:pt x="407" y="149"/>
                    </a:cubicBezTo>
                    <a:cubicBezTo>
                      <a:pt x="407" y="150"/>
                      <a:pt x="406" y="150"/>
                      <a:pt x="406" y="150"/>
                    </a:cubicBezTo>
                    <a:cubicBezTo>
                      <a:pt x="405" y="151"/>
                      <a:pt x="404" y="151"/>
                      <a:pt x="404" y="151"/>
                    </a:cubicBezTo>
                    <a:cubicBezTo>
                      <a:pt x="403" y="152"/>
                      <a:pt x="402" y="152"/>
                      <a:pt x="402" y="152"/>
                    </a:cubicBezTo>
                    <a:cubicBezTo>
                      <a:pt x="401" y="153"/>
                      <a:pt x="400" y="153"/>
                      <a:pt x="400" y="153"/>
                    </a:cubicBezTo>
                    <a:cubicBezTo>
                      <a:pt x="399" y="153"/>
                      <a:pt x="398" y="154"/>
                      <a:pt x="397" y="154"/>
                    </a:cubicBezTo>
                    <a:cubicBezTo>
                      <a:pt x="397" y="154"/>
                      <a:pt x="396" y="154"/>
                      <a:pt x="396" y="155"/>
                    </a:cubicBezTo>
                    <a:cubicBezTo>
                      <a:pt x="395" y="155"/>
                      <a:pt x="394" y="155"/>
                      <a:pt x="393" y="155"/>
                    </a:cubicBezTo>
                    <a:cubicBezTo>
                      <a:pt x="393" y="155"/>
                      <a:pt x="392" y="156"/>
                      <a:pt x="392" y="156"/>
                    </a:cubicBezTo>
                    <a:cubicBezTo>
                      <a:pt x="391" y="156"/>
                      <a:pt x="389" y="156"/>
                      <a:pt x="388" y="156"/>
                    </a:cubicBezTo>
                    <a:cubicBezTo>
                      <a:pt x="388" y="156"/>
                      <a:pt x="388" y="156"/>
                      <a:pt x="387" y="156"/>
                    </a:cubicBezTo>
                    <a:cubicBezTo>
                      <a:pt x="386" y="156"/>
                      <a:pt x="384" y="157"/>
                      <a:pt x="383" y="157"/>
                    </a:cubicBezTo>
                    <a:cubicBezTo>
                      <a:pt x="381" y="157"/>
                      <a:pt x="380" y="156"/>
                      <a:pt x="378" y="156"/>
                    </a:cubicBezTo>
                    <a:cubicBezTo>
                      <a:pt x="378" y="156"/>
                      <a:pt x="378" y="156"/>
                      <a:pt x="377" y="156"/>
                    </a:cubicBezTo>
                    <a:cubicBezTo>
                      <a:pt x="376" y="156"/>
                      <a:pt x="375" y="156"/>
                      <a:pt x="374" y="156"/>
                    </a:cubicBezTo>
                    <a:cubicBezTo>
                      <a:pt x="373" y="156"/>
                      <a:pt x="373" y="155"/>
                      <a:pt x="373" y="155"/>
                    </a:cubicBezTo>
                    <a:cubicBezTo>
                      <a:pt x="372" y="155"/>
                      <a:pt x="371" y="155"/>
                      <a:pt x="370" y="155"/>
                    </a:cubicBezTo>
                    <a:cubicBezTo>
                      <a:pt x="369" y="154"/>
                      <a:pt x="369" y="154"/>
                      <a:pt x="368" y="154"/>
                    </a:cubicBezTo>
                    <a:cubicBezTo>
                      <a:pt x="367" y="154"/>
                      <a:pt x="367" y="153"/>
                      <a:pt x="366" y="153"/>
                    </a:cubicBezTo>
                    <a:cubicBezTo>
                      <a:pt x="365" y="153"/>
                      <a:pt x="365" y="153"/>
                      <a:pt x="364" y="152"/>
                    </a:cubicBezTo>
                    <a:cubicBezTo>
                      <a:pt x="363" y="152"/>
                      <a:pt x="363" y="152"/>
                      <a:pt x="362" y="151"/>
                    </a:cubicBezTo>
                    <a:cubicBezTo>
                      <a:pt x="361" y="151"/>
                      <a:pt x="361" y="151"/>
                      <a:pt x="360" y="150"/>
                    </a:cubicBezTo>
                    <a:cubicBezTo>
                      <a:pt x="360" y="150"/>
                      <a:pt x="359" y="150"/>
                      <a:pt x="359" y="149"/>
                    </a:cubicBezTo>
                    <a:cubicBezTo>
                      <a:pt x="358" y="149"/>
                      <a:pt x="357" y="149"/>
                      <a:pt x="356" y="148"/>
                    </a:cubicBezTo>
                    <a:cubicBezTo>
                      <a:pt x="356" y="148"/>
                      <a:pt x="356" y="147"/>
                      <a:pt x="355" y="147"/>
                    </a:cubicBezTo>
                    <a:cubicBezTo>
                      <a:pt x="355" y="147"/>
                      <a:pt x="354" y="146"/>
                      <a:pt x="353" y="145"/>
                    </a:cubicBezTo>
                    <a:cubicBezTo>
                      <a:pt x="343" y="137"/>
                      <a:pt x="337" y="125"/>
                      <a:pt x="337" y="111"/>
                    </a:cubicBezTo>
                    <a:cubicBezTo>
                      <a:pt x="337" y="85"/>
                      <a:pt x="358" y="65"/>
                      <a:pt x="383" y="65"/>
                    </a:cubicBezTo>
                    <a:close/>
                    <a:moveTo>
                      <a:pt x="79" y="65"/>
                    </a:moveTo>
                    <a:cubicBezTo>
                      <a:pt x="86" y="65"/>
                      <a:pt x="93" y="67"/>
                      <a:pt x="99" y="69"/>
                    </a:cubicBezTo>
                    <a:cubicBezTo>
                      <a:pt x="108" y="74"/>
                      <a:pt x="116" y="82"/>
                      <a:pt x="121" y="91"/>
                    </a:cubicBezTo>
                    <a:cubicBezTo>
                      <a:pt x="123" y="97"/>
                      <a:pt x="125" y="104"/>
                      <a:pt x="125" y="111"/>
                    </a:cubicBezTo>
                    <a:cubicBezTo>
                      <a:pt x="125" y="125"/>
                      <a:pt x="119" y="137"/>
                      <a:pt x="109" y="146"/>
                    </a:cubicBezTo>
                    <a:cubicBezTo>
                      <a:pt x="108" y="146"/>
                      <a:pt x="108" y="147"/>
                      <a:pt x="107" y="147"/>
                    </a:cubicBezTo>
                    <a:cubicBezTo>
                      <a:pt x="106" y="147"/>
                      <a:pt x="106" y="148"/>
                      <a:pt x="106" y="148"/>
                    </a:cubicBezTo>
                    <a:cubicBezTo>
                      <a:pt x="105" y="149"/>
                      <a:pt x="104" y="149"/>
                      <a:pt x="103" y="150"/>
                    </a:cubicBezTo>
                    <a:cubicBezTo>
                      <a:pt x="103" y="150"/>
                      <a:pt x="103" y="150"/>
                      <a:pt x="102" y="150"/>
                    </a:cubicBezTo>
                    <a:cubicBezTo>
                      <a:pt x="101" y="151"/>
                      <a:pt x="101" y="151"/>
                      <a:pt x="100" y="151"/>
                    </a:cubicBezTo>
                    <a:cubicBezTo>
                      <a:pt x="99" y="152"/>
                      <a:pt x="99" y="152"/>
                      <a:pt x="98" y="152"/>
                    </a:cubicBezTo>
                    <a:cubicBezTo>
                      <a:pt x="98" y="153"/>
                      <a:pt x="97" y="153"/>
                      <a:pt x="96" y="153"/>
                    </a:cubicBezTo>
                    <a:cubicBezTo>
                      <a:pt x="96" y="153"/>
                      <a:pt x="95" y="154"/>
                      <a:pt x="94" y="154"/>
                    </a:cubicBezTo>
                    <a:cubicBezTo>
                      <a:pt x="93" y="154"/>
                      <a:pt x="93" y="154"/>
                      <a:pt x="92" y="155"/>
                    </a:cubicBezTo>
                    <a:cubicBezTo>
                      <a:pt x="91" y="155"/>
                      <a:pt x="90" y="155"/>
                      <a:pt x="90" y="155"/>
                    </a:cubicBezTo>
                    <a:cubicBezTo>
                      <a:pt x="89" y="155"/>
                      <a:pt x="89" y="156"/>
                      <a:pt x="88" y="156"/>
                    </a:cubicBezTo>
                    <a:cubicBezTo>
                      <a:pt x="87" y="156"/>
                      <a:pt x="86" y="156"/>
                      <a:pt x="85" y="156"/>
                    </a:cubicBezTo>
                    <a:cubicBezTo>
                      <a:pt x="85" y="156"/>
                      <a:pt x="84" y="156"/>
                      <a:pt x="84" y="156"/>
                    </a:cubicBezTo>
                    <a:cubicBezTo>
                      <a:pt x="82" y="156"/>
                      <a:pt x="81" y="156"/>
                      <a:pt x="80" y="156"/>
                    </a:cubicBezTo>
                    <a:cubicBezTo>
                      <a:pt x="80" y="156"/>
                      <a:pt x="79" y="157"/>
                      <a:pt x="79" y="157"/>
                    </a:cubicBezTo>
                    <a:cubicBezTo>
                      <a:pt x="79" y="157"/>
                      <a:pt x="79" y="156"/>
                      <a:pt x="79" y="156"/>
                    </a:cubicBezTo>
                    <a:cubicBezTo>
                      <a:pt x="77" y="156"/>
                      <a:pt x="76" y="156"/>
                      <a:pt x="75" y="156"/>
                    </a:cubicBezTo>
                    <a:cubicBezTo>
                      <a:pt x="74" y="156"/>
                      <a:pt x="74" y="156"/>
                      <a:pt x="73" y="156"/>
                    </a:cubicBezTo>
                    <a:cubicBezTo>
                      <a:pt x="72" y="156"/>
                      <a:pt x="71" y="156"/>
                      <a:pt x="70" y="156"/>
                    </a:cubicBezTo>
                    <a:cubicBezTo>
                      <a:pt x="70" y="156"/>
                      <a:pt x="69" y="155"/>
                      <a:pt x="69" y="155"/>
                    </a:cubicBezTo>
                    <a:cubicBezTo>
                      <a:pt x="68" y="155"/>
                      <a:pt x="67" y="155"/>
                      <a:pt x="66" y="155"/>
                    </a:cubicBezTo>
                    <a:cubicBezTo>
                      <a:pt x="66" y="154"/>
                      <a:pt x="65" y="154"/>
                      <a:pt x="64" y="154"/>
                    </a:cubicBezTo>
                    <a:cubicBezTo>
                      <a:pt x="64" y="154"/>
                      <a:pt x="63" y="153"/>
                      <a:pt x="62" y="153"/>
                    </a:cubicBezTo>
                    <a:cubicBezTo>
                      <a:pt x="62" y="153"/>
                      <a:pt x="61" y="153"/>
                      <a:pt x="60" y="152"/>
                    </a:cubicBezTo>
                    <a:cubicBezTo>
                      <a:pt x="60" y="152"/>
                      <a:pt x="59" y="152"/>
                      <a:pt x="58" y="151"/>
                    </a:cubicBezTo>
                    <a:cubicBezTo>
                      <a:pt x="58" y="151"/>
                      <a:pt x="57" y="151"/>
                      <a:pt x="56" y="150"/>
                    </a:cubicBezTo>
                    <a:cubicBezTo>
                      <a:pt x="56" y="150"/>
                      <a:pt x="55" y="150"/>
                      <a:pt x="55" y="150"/>
                    </a:cubicBezTo>
                    <a:cubicBezTo>
                      <a:pt x="54" y="149"/>
                      <a:pt x="54" y="149"/>
                      <a:pt x="53" y="148"/>
                    </a:cubicBezTo>
                    <a:cubicBezTo>
                      <a:pt x="52" y="148"/>
                      <a:pt x="52" y="148"/>
                      <a:pt x="52" y="147"/>
                    </a:cubicBezTo>
                    <a:cubicBezTo>
                      <a:pt x="51" y="147"/>
                      <a:pt x="50" y="146"/>
                      <a:pt x="50" y="145"/>
                    </a:cubicBezTo>
                    <a:cubicBezTo>
                      <a:pt x="40" y="137"/>
                      <a:pt x="33" y="125"/>
                      <a:pt x="33" y="111"/>
                    </a:cubicBezTo>
                    <a:cubicBezTo>
                      <a:pt x="34" y="86"/>
                      <a:pt x="54" y="65"/>
                      <a:pt x="79" y="65"/>
                    </a:cubicBezTo>
                    <a:close/>
                    <a:moveTo>
                      <a:pt x="128" y="196"/>
                    </a:moveTo>
                    <a:cubicBezTo>
                      <a:pt x="128" y="268"/>
                      <a:pt x="128" y="268"/>
                      <a:pt x="128" y="268"/>
                    </a:cubicBezTo>
                    <a:cubicBezTo>
                      <a:pt x="43" y="268"/>
                      <a:pt x="43" y="268"/>
                      <a:pt x="43" y="268"/>
                    </a:cubicBezTo>
                    <a:cubicBezTo>
                      <a:pt x="43" y="206"/>
                      <a:pt x="43" y="206"/>
                      <a:pt x="43" y="206"/>
                    </a:cubicBezTo>
                    <a:cubicBezTo>
                      <a:pt x="43" y="202"/>
                      <a:pt x="40" y="198"/>
                      <a:pt x="35" y="198"/>
                    </a:cubicBezTo>
                    <a:cubicBezTo>
                      <a:pt x="31" y="198"/>
                      <a:pt x="27" y="202"/>
                      <a:pt x="27" y="206"/>
                    </a:cubicBezTo>
                    <a:cubicBezTo>
                      <a:pt x="27" y="268"/>
                      <a:pt x="27" y="268"/>
                      <a:pt x="27" y="268"/>
                    </a:cubicBezTo>
                    <a:cubicBezTo>
                      <a:pt x="17" y="268"/>
                      <a:pt x="17" y="268"/>
                      <a:pt x="17" y="268"/>
                    </a:cubicBezTo>
                    <a:cubicBezTo>
                      <a:pt x="17" y="268"/>
                      <a:pt x="17" y="268"/>
                      <a:pt x="17" y="268"/>
                    </a:cubicBezTo>
                    <a:cubicBezTo>
                      <a:pt x="17" y="267"/>
                      <a:pt x="16" y="267"/>
                      <a:pt x="16" y="266"/>
                    </a:cubicBezTo>
                    <a:cubicBezTo>
                      <a:pt x="16" y="266"/>
                      <a:pt x="16" y="218"/>
                      <a:pt x="16" y="197"/>
                    </a:cubicBezTo>
                    <a:cubicBezTo>
                      <a:pt x="16" y="191"/>
                      <a:pt x="20" y="182"/>
                      <a:pt x="25" y="174"/>
                    </a:cubicBezTo>
                    <a:cubicBezTo>
                      <a:pt x="30" y="168"/>
                      <a:pt x="36" y="163"/>
                      <a:pt x="42" y="160"/>
                    </a:cubicBezTo>
                    <a:cubicBezTo>
                      <a:pt x="43" y="160"/>
                      <a:pt x="43" y="161"/>
                      <a:pt x="43" y="161"/>
                    </a:cubicBezTo>
                    <a:cubicBezTo>
                      <a:pt x="44" y="161"/>
                      <a:pt x="45" y="162"/>
                      <a:pt x="46" y="163"/>
                    </a:cubicBezTo>
                    <a:cubicBezTo>
                      <a:pt x="46" y="163"/>
                      <a:pt x="47" y="163"/>
                      <a:pt x="47" y="164"/>
                    </a:cubicBezTo>
                    <a:cubicBezTo>
                      <a:pt x="48" y="164"/>
                      <a:pt x="49" y="165"/>
                      <a:pt x="51" y="165"/>
                    </a:cubicBezTo>
                    <a:cubicBezTo>
                      <a:pt x="51" y="166"/>
                      <a:pt x="51" y="166"/>
                      <a:pt x="51" y="166"/>
                    </a:cubicBezTo>
                    <a:cubicBezTo>
                      <a:pt x="53" y="167"/>
                      <a:pt x="55" y="168"/>
                      <a:pt x="57" y="168"/>
                    </a:cubicBezTo>
                    <a:cubicBezTo>
                      <a:pt x="58" y="169"/>
                      <a:pt x="59" y="169"/>
                      <a:pt x="60" y="169"/>
                    </a:cubicBezTo>
                    <a:cubicBezTo>
                      <a:pt x="61" y="170"/>
                      <a:pt x="62" y="170"/>
                      <a:pt x="62" y="170"/>
                    </a:cubicBezTo>
                    <a:cubicBezTo>
                      <a:pt x="63" y="170"/>
                      <a:pt x="65" y="171"/>
                      <a:pt x="66" y="171"/>
                    </a:cubicBezTo>
                    <a:cubicBezTo>
                      <a:pt x="66" y="171"/>
                      <a:pt x="67" y="171"/>
                      <a:pt x="68" y="171"/>
                    </a:cubicBezTo>
                    <a:cubicBezTo>
                      <a:pt x="69" y="172"/>
                      <a:pt x="70" y="172"/>
                      <a:pt x="72" y="172"/>
                    </a:cubicBezTo>
                    <a:cubicBezTo>
                      <a:pt x="72" y="172"/>
                      <a:pt x="73" y="172"/>
                      <a:pt x="73" y="172"/>
                    </a:cubicBezTo>
                    <a:cubicBezTo>
                      <a:pt x="75" y="172"/>
                      <a:pt x="77" y="173"/>
                      <a:pt x="79" y="173"/>
                    </a:cubicBezTo>
                    <a:cubicBezTo>
                      <a:pt x="79" y="173"/>
                      <a:pt x="79" y="173"/>
                      <a:pt x="79" y="173"/>
                    </a:cubicBezTo>
                    <a:cubicBezTo>
                      <a:pt x="79" y="173"/>
                      <a:pt x="79" y="173"/>
                      <a:pt x="79" y="173"/>
                    </a:cubicBezTo>
                    <a:cubicBezTo>
                      <a:pt x="79" y="173"/>
                      <a:pt x="79" y="173"/>
                      <a:pt x="79" y="173"/>
                    </a:cubicBezTo>
                    <a:cubicBezTo>
                      <a:pt x="81" y="173"/>
                      <a:pt x="83" y="172"/>
                      <a:pt x="85" y="172"/>
                    </a:cubicBezTo>
                    <a:cubicBezTo>
                      <a:pt x="86" y="172"/>
                      <a:pt x="86" y="172"/>
                      <a:pt x="87" y="172"/>
                    </a:cubicBezTo>
                    <a:cubicBezTo>
                      <a:pt x="88" y="172"/>
                      <a:pt x="89" y="172"/>
                      <a:pt x="91" y="171"/>
                    </a:cubicBezTo>
                    <a:cubicBezTo>
                      <a:pt x="91" y="171"/>
                      <a:pt x="92" y="171"/>
                      <a:pt x="93" y="171"/>
                    </a:cubicBezTo>
                    <a:cubicBezTo>
                      <a:pt x="94" y="171"/>
                      <a:pt x="95" y="170"/>
                      <a:pt x="96" y="170"/>
                    </a:cubicBezTo>
                    <a:cubicBezTo>
                      <a:pt x="97" y="170"/>
                      <a:pt x="98" y="170"/>
                      <a:pt x="98" y="169"/>
                    </a:cubicBezTo>
                    <a:cubicBezTo>
                      <a:pt x="99" y="169"/>
                      <a:pt x="100" y="169"/>
                      <a:pt x="101" y="168"/>
                    </a:cubicBezTo>
                    <a:cubicBezTo>
                      <a:pt x="103" y="168"/>
                      <a:pt x="105" y="167"/>
                      <a:pt x="107" y="166"/>
                    </a:cubicBezTo>
                    <a:cubicBezTo>
                      <a:pt x="107" y="166"/>
                      <a:pt x="108" y="166"/>
                      <a:pt x="108" y="165"/>
                    </a:cubicBezTo>
                    <a:cubicBezTo>
                      <a:pt x="109" y="165"/>
                      <a:pt x="110" y="164"/>
                      <a:pt x="111" y="164"/>
                    </a:cubicBezTo>
                    <a:cubicBezTo>
                      <a:pt x="112" y="163"/>
                      <a:pt x="112" y="163"/>
                      <a:pt x="112" y="163"/>
                    </a:cubicBezTo>
                    <a:cubicBezTo>
                      <a:pt x="113" y="162"/>
                      <a:pt x="114" y="161"/>
                      <a:pt x="115" y="161"/>
                    </a:cubicBezTo>
                    <a:cubicBezTo>
                      <a:pt x="116" y="161"/>
                      <a:pt x="116" y="160"/>
                      <a:pt x="116" y="160"/>
                    </a:cubicBezTo>
                    <a:cubicBezTo>
                      <a:pt x="122" y="163"/>
                      <a:pt x="128" y="168"/>
                      <a:pt x="133" y="174"/>
                    </a:cubicBezTo>
                    <a:cubicBezTo>
                      <a:pt x="131" y="179"/>
                      <a:pt x="130" y="183"/>
                      <a:pt x="129" y="188"/>
                    </a:cubicBezTo>
                    <a:cubicBezTo>
                      <a:pt x="129" y="190"/>
                      <a:pt x="129" y="192"/>
                      <a:pt x="129" y="195"/>
                    </a:cubicBezTo>
                    <a:cubicBezTo>
                      <a:pt x="129" y="195"/>
                      <a:pt x="128" y="196"/>
                      <a:pt x="128" y="196"/>
                    </a:cubicBezTo>
                    <a:close/>
                    <a:moveTo>
                      <a:pt x="314" y="294"/>
                    </a:moveTo>
                    <a:cubicBezTo>
                      <a:pt x="298" y="294"/>
                      <a:pt x="298" y="294"/>
                      <a:pt x="298" y="294"/>
                    </a:cubicBezTo>
                    <a:cubicBezTo>
                      <a:pt x="298" y="195"/>
                      <a:pt x="298" y="195"/>
                      <a:pt x="298" y="195"/>
                    </a:cubicBezTo>
                    <a:cubicBezTo>
                      <a:pt x="298" y="191"/>
                      <a:pt x="295" y="187"/>
                      <a:pt x="290" y="187"/>
                    </a:cubicBezTo>
                    <a:cubicBezTo>
                      <a:pt x="286" y="187"/>
                      <a:pt x="282" y="191"/>
                      <a:pt x="282" y="195"/>
                    </a:cubicBezTo>
                    <a:cubicBezTo>
                      <a:pt x="282" y="294"/>
                      <a:pt x="282" y="294"/>
                      <a:pt x="282" y="294"/>
                    </a:cubicBezTo>
                    <a:cubicBezTo>
                      <a:pt x="181" y="294"/>
                      <a:pt x="181" y="294"/>
                      <a:pt x="181" y="294"/>
                    </a:cubicBezTo>
                    <a:cubicBezTo>
                      <a:pt x="181" y="195"/>
                      <a:pt x="181" y="195"/>
                      <a:pt x="181" y="195"/>
                    </a:cubicBezTo>
                    <a:cubicBezTo>
                      <a:pt x="181" y="191"/>
                      <a:pt x="177" y="187"/>
                      <a:pt x="173" y="187"/>
                    </a:cubicBezTo>
                    <a:cubicBezTo>
                      <a:pt x="168" y="187"/>
                      <a:pt x="165" y="191"/>
                      <a:pt x="165" y="195"/>
                    </a:cubicBezTo>
                    <a:cubicBezTo>
                      <a:pt x="165" y="294"/>
                      <a:pt x="165" y="294"/>
                      <a:pt x="165" y="294"/>
                    </a:cubicBezTo>
                    <a:cubicBezTo>
                      <a:pt x="149" y="294"/>
                      <a:pt x="149" y="294"/>
                      <a:pt x="149" y="294"/>
                    </a:cubicBezTo>
                    <a:cubicBezTo>
                      <a:pt x="147" y="294"/>
                      <a:pt x="145" y="292"/>
                      <a:pt x="144" y="288"/>
                    </a:cubicBezTo>
                    <a:cubicBezTo>
                      <a:pt x="144" y="288"/>
                      <a:pt x="144" y="224"/>
                      <a:pt x="144" y="196"/>
                    </a:cubicBezTo>
                    <a:cubicBezTo>
                      <a:pt x="144" y="196"/>
                      <a:pt x="144" y="196"/>
                      <a:pt x="144" y="196"/>
                    </a:cubicBezTo>
                    <a:cubicBezTo>
                      <a:pt x="144" y="195"/>
                      <a:pt x="145" y="193"/>
                      <a:pt x="145" y="192"/>
                    </a:cubicBezTo>
                    <a:cubicBezTo>
                      <a:pt x="145" y="191"/>
                      <a:pt x="145" y="191"/>
                      <a:pt x="145" y="191"/>
                    </a:cubicBezTo>
                    <a:cubicBezTo>
                      <a:pt x="145" y="190"/>
                      <a:pt x="145" y="188"/>
                      <a:pt x="146" y="187"/>
                    </a:cubicBezTo>
                    <a:cubicBezTo>
                      <a:pt x="146" y="187"/>
                      <a:pt x="146" y="186"/>
                      <a:pt x="146" y="186"/>
                    </a:cubicBezTo>
                    <a:cubicBezTo>
                      <a:pt x="146" y="185"/>
                      <a:pt x="147" y="183"/>
                      <a:pt x="147" y="182"/>
                    </a:cubicBezTo>
                    <a:cubicBezTo>
                      <a:pt x="147" y="182"/>
                      <a:pt x="147" y="181"/>
                      <a:pt x="147" y="181"/>
                    </a:cubicBezTo>
                    <a:cubicBezTo>
                      <a:pt x="148" y="180"/>
                      <a:pt x="149" y="178"/>
                      <a:pt x="149" y="176"/>
                    </a:cubicBezTo>
                    <a:cubicBezTo>
                      <a:pt x="151" y="172"/>
                      <a:pt x="154" y="167"/>
                      <a:pt x="157" y="163"/>
                    </a:cubicBezTo>
                    <a:cubicBezTo>
                      <a:pt x="164" y="154"/>
                      <a:pt x="173" y="147"/>
                      <a:pt x="183" y="143"/>
                    </a:cubicBezTo>
                    <a:cubicBezTo>
                      <a:pt x="183" y="143"/>
                      <a:pt x="183" y="144"/>
                      <a:pt x="183" y="144"/>
                    </a:cubicBezTo>
                    <a:cubicBezTo>
                      <a:pt x="188" y="147"/>
                      <a:pt x="193" y="150"/>
                      <a:pt x="198" y="152"/>
                    </a:cubicBezTo>
                    <a:cubicBezTo>
                      <a:pt x="198" y="153"/>
                      <a:pt x="199" y="153"/>
                      <a:pt x="199" y="153"/>
                    </a:cubicBezTo>
                    <a:cubicBezTo>
                      <a:pt x="201" y="154"/>
                      <a:pt x="202" y="154"/>
                      <a:pt x="203" y="155"/>
                    </a:cubicBezTo>
                    <a:cubicBezTo>
                      <a:pt x="204" y="155"/>
                      <a:pt x="205" y="155"/>
                      <a:pt x="206" y="156"/>
                    </a:cubicBezTo>
                    <a:cubicBezTo>
                      <a:pt x="207" y="156"/>
                      <a:pt x="208" y="156"/>
                      <a:pt x="210" y="157"/>
                    </a:cubicBezTo>
                    <a:cubicBezTo>
                      <a:pt x="211" y="157"/>
                      <a:pt x="212" y="158"/>
                      <a:pt x="214" y="158"/>
                    </a:cubicBezTo>
                    <a:cubicBezTo>
                      <a:pt x="215" y="158"/>
                      <a:pt x="216" y="158"/>
                      <a:pt x="217" y="158"/>
                    </a:cubicBezTo>
                    <a:cubicBezTo>
                      <a:pt x="218" y="159"/>
                      <a:pt x="220" y="159"/>
                      <a:pt x="221" y="159"/>
                    </a:cubicBezTo>
                    <a:cubicBezTo>
                      <a:pt x="222" y="159"/>
                      <a:pt x="223" y="159"/>
                      <a:pt x="224" y="160"/>
                    </a:cubicBezTo>
                    <a:cubicBezTo>
                      <a:pt x="226" y="160"/>
                      <a:pt x="229" y="160"/>
                      <a:pt x="232" y="160"/>
                    </a:cubicBezTo>
                    <a:cubicBezTo>
                      <a:pt x="234" y="160"/>
                      <a:pt x="237" y="160"/>
                      <a:pt x="239" y="160"/>
                    </a:cubicBezTo>
                    <a:cubicBezTo>
                      <a:pt x="240" y="159"/>
                      <a:pt x="241" y="159"/>
                      <a:pt x="242" y="159"/>
                    </a:cubicBezTo>
                    <a:cubicBezTo>
                      <a:pt x="243" y="159"/>
                      <a:pt x="245" y="159"/>
                      <a:pt x="246" y="158"/>
                    </a:cubicBezTo>
                    <a:cubicBezTo>
                      <a:pt x="247" y="158"/>
                      <a:pt x="248" y="158"/>
                      <a:pt x="249" y="158"/>
                    </a:cubicBezTo>
                    <a:cubicBezTo>
                      <a:pt x="251" y="158"/>
                      <a:pt x="252" y="157"/>
                      <a:pt x="253" y="157"/>
                    </a:cubicBezTo>
                    <a:cubicBezTo>
                      <a:pt x="255" y="156"/>
                      <a:pt x="256" y="156"/>
                      <a:pt x="257" y="156"/>
                    </a:cubicBezTo>
                    <a:cubicBezTo>
                      <a:pt x="258" y="155"/>
                      <a:pt x="259" y="155"/>
                      <a:pt x="260" y="155"/>
                    </a:cubicBezTo>
                    <a:cubicBezTo>
                      <a:pt x="261" y="154"/>
                      <a:pt x="262" y="154"/>
                      <a:pt x="264" y="153"/>
                    </a:cubicBezTo>
                    <a:cubicBezTo>
                      <a:pt x="264" y="153"/>
                      <a:pt x="265" y="153"/>
                      <a:pt x="266" y="152"/>
                    </a:cubicBezTo>
                    <a:cubicBezTo>
                      <a:pt x="271" y="150"/>
                      <a:pt x="275" y="147"/>
                      <a:pt x="280" y="144"/>
                    </a:cubicBezTo>
                    <a:cubicBezTo>
                      <a:pt x="280" y="144"/>
                      <a:pt x="280" y="143"/>
                      <a:pt x="280" y="143"/>
                    </a:cubicBezTo>
                    <a:cubicBezTo>
                      <a:pt x="290" y="147"/>
                      <a:pt x="299" y="154"/>
                      <a:pt x="306" y="163"/>
                    </a:cubicBezTo>
                    <a:cubicBezTo>
                      <a:pt x="309" y="167"/>
                      <a:pt x="311" y="172"/>
                      <a:pt x="314" y="176"/>
                    </a:cubicBezTo>
                    <a:cubicBezTo>
                      <a:pt x="314" y="177"/>
                      <a:pt x="315" y="179"/>
                      <a:pt x="315" y="180"/>
                    </a:cubicBezTo>
                    <a:cubicBezTo>
                      <a:pt x="316" y="181"/>
                      <a:pt x="316" y="181"/>
                      <a:pt x="316" y="182"/>
                    </a:cubicBezTo>
                    <a:cubicBezTo>
                      <a:pt x="316" y="183"/>
                      <a:pt x="317" y="184"/>
                      <a:pt x="317" y="185"/>
                    </a:cubicBezTo>
                    <a:cubicBezTo>
                      <a:pt x="317" y="186"/>
                      <a:pt x="317" y="186"/>
                      <a:pt x="317" y="187"/>
                    </a:cubicBezTo>
                    <a:cubicBezTo>
                      <a:pt x="318" y="188"/>
                      <a:pt x="318" y="189"/>
                      <a:pt x="318" y="190"/>
                    </a:cubicBezTo>
                    <a:cubicBezTo>
                      <a:pt x="318" y="191"/>
                      <a:pt x="318" y="191"/>
                      <a:pt x="318" y="192"/>
                    </a:cubicBezTo>
                    <a:cubicBezTo>
                      <a:pt x="318" y="193"/>
                      <a:pt x="319" y="195"/>
                      <a:pt x="319" y="196"/>
                    </a:cubicBezTo>
                    <a:cubicBezTo>
                      <a:pt x="319" y="276"/>
                      <a:pt x="319" y="276"/>
                      <a:pt x="319" y="276"/>
                    </a:cubicBezTo>
                    <a:cubicBezTo>
                      <a:pt x="319" y="276"/>
                      <a:pt x="319" y="276"/>
                      <a:pt x="319" y="276"/>
                    </a:cubicBezTo>
                    <a:cubicBezTo>
                      <a:pt x="319" y="283"/>
                      <a:pt x="319" y="288"/>
                      <a:pt x="319" y="288"/>
                    </a:cubicBezTo>
                    <a:cubicBezTo>
                      <a:pt x="318" y="292"/>
                      <a:pt x="316" y="294"/>
                      <a:pt x="314" y="294"/>
                    </a:cubicBezTo>
                    <a:close/>
                    <a:moveTo>
                      <a:pt x="446" y="266"/>
                    </a:moveTo>
                    <a:cubicBezTo>
                      <a:pt x="446" y="267"/>
                      <a:pt x="445" y="267"/>
                      <a:pt x="445" y="268"/>
                    </a:cubicBezTo>
                    <a:cubicBezTo>
                      <a:pt x="445" y="268"/>
                      <a:pt x="445" y="268"/>
                      <a:pt x="445" y="268"/>
                    </a:cubicBezTo>
                    <a:cubicBezTo>
                      <a:pt x="435" y="268"/>
                      <a:pt x="435" y="268"/>
                      <a:pt x="435" y="268"/>
                    </a:cubicBezTo>
                    <a:cubicBezTo>
                      <a:pt x="435" y="206"/>
                      <a:pt x="435" y="206"/>
                      <a:pt x="435" y="206"/>
                    </a:cubicBezTo>
                    <a:cubicBezTo>
                      <a:pt x="435" y="202"/>
                      <a:pt x="431" y="198"/>
                      <a:pt x="427" y="198"/>
                    </a:cubicBezTo>
                    <a:cubicBezTo>
                      <a:pt x="422" y="198"/>
                      <a:pt x="419" y="202"/>
                      <a:pt x="419" y="206"/>
                    </a:cubicBezTo>
                    <a:cubicBezTo>
                      <a:pt x="419" y="268"/>
                      <a:pt x="419" y="268"/>
                      <a:pt x="419" y="268"/>
                    </a:cubicBezTo>
                    <a:cubicBezTo>
                      <a:pt x="335" y="268"/>
                      <a:pt x="335" y="268"/>
                      <a:pt x="335" y="268"/>
                    </a:cubicBezTo>
                    <a:cubicBezTo>
                      <a:pt x="335" y="247"/>
                      <a:pt x="335" y="214"/>
                      <a:pt x="335" y="196"/>
                    </a:cubicBezTo>
                    <a:cubicBezTo>
                      <a:pt x="335" y="194"/>
                      <a:pt x="334" y="192"/>
                      <a:pt x="334" y="190"/>
                    </a:cubicBezTo>
                    <a:cubicBezTo>
                      <a:pt x="334" y="189"/>
                      <a:pt x="334" y="188"/>
                      <a:pt x="334" y="187"/>
                    </a:cubicBezTo>
                    <a:cubicBezTo>
                      <a:pt x="334" y="186"/>
                      <a:pt x="333" y="186"/>
                      <a:pt x="333" y="185"/>
                    </a:cubicBezTo>
                    <a:cubicBezTo>
                      <a:pt x="333" y="184"/>
                      <a:pt x="333" y="183"/>
                      <a:pt x="333" y="182"/>
                    </a:cubicBezTo>
                    <a:cubicBezTo>
                      <a:pt x="332" y="181"/>
                      <a:pt x="332" y="180"/>
                      <a:pt x="332" y="179"/>
                    </a:cubicBezTo>
                    <a:cubicBezTo>
                      <a:pt x="332" y="178"/>
                      <a:pt x="331" y="178"/>
                      <a:pt x="331" y="177"/>
                    </a:cubicBezTo>
                    <a:cubicBezTo>
                      <a:pt x="331" y="176"/>
                      <a:pt x="330" y="175"/>
                      <a:pt x="330" y="173"/>
                    </a:cubicBezTo>
                    <a:cubicBezTo>
                      <a:pt x="330" y="173"/>
                      <a:pt x="330" y="173"/>
                      <a:pt x="330" y="173"/>
                    </a:cubicBezTo>
                    <a:cubicBezTo>
                      <a:pt x="334" y="167"/>
                      <a:pt x="340" y="163"/>
                      <a:pt x="346" y="160"/>
                    </a:cubicBezTo>
                    <a:cubicBezTo>
                      <a:pt x="346" y="160"/>
                      <a:pt x="346" y="161"/>
                      <a:pt x="347" y="161"/>
                    </a:cubicBezTo>
                    <a:cubicBezTo>
                      <a:pt x="348" y="161"/>
                      <a:pt x="349" y="162"/>
                      <a:pt x="350" y="163"/>
                    </a:cubicBezTo>
                    <a:cubicBezTo>
                      <a:pt x="350" y="163"/>
                      <a:pt x="350" y="163"/>
                      <a:pt x="351" y="164"/>
                    </a:cubicBezTo>
                    <a:cubicBezTo>
                      <a:pt x="352" y="164"/>
                      <a:pt x="353" y="165"/>
                      <a:pt x="354" y="165"/>
                    </a:cubicBezTo>
                    <a:cubicBezTo>
                      <a:pt x="354" y="166"/>
                      <a:pt x="354" y="166"/>
                      <a:pt x="355" y="166"/>
                    </a:cubicBezTo>
                    <a:cubicBezTo>
                      <a:pt x="357" y="167"/>
                      <a:pt x="359" y="168"/>
                      <a:pt x="361" y="168"/>
                    </a:cubicBezTo>
                    <a:cubicBezTo>
                      <a:pt x="362" y="169"/>
                      <a:pt x="363" y="169"/>
                      <a:pt x="364" y="169"/>
                    </a:cubicBezTo>
                    <a:cubicBezTo>
                      <a:pt x="364" y="170"/>
                      <a:pt x="365" y="170"/>
                      <a:pt x="366" y="170"/>
                    </a:cubicBezTo>
                    <a:cubicBezTo>
                      <a:pt x="367" y="170"/>
                      <a:pt x="368" y="171"/>
                      <a:pt x="369" y="171"/>
                    </a:cubicBezTo>
                    <a:cubicBezTo>
                      <a:pt x="370" y="171"/>
                      <a:pt x="371" y="171"/>
                      <a:pt x="371" y="171"/>
                    </a:cubicBezTo>
                    <a:cubicBezTo>
                      <a:pt x="373" y="172"/>
                      <a:pt x="374" y="172"/>
                      <a:pt x="375" y="172"/>
                    </a:cubicBezTo>
                    <a:cubicBezTo>
                      <a:pt x="376" y="172"/>
                      <a:pt x="376" y="172"/>
                      <a:pt x="377" y="172"/>
                    </a:cubicBezTo>
                    <a:cubicBezTo>
                      <a:pt x="379" y="172"/>
                      <a:pt x="381" y="172"/>
                      <a:pt x="382" y="173"/>
                    </a:cubicBezTo>
                    <a:cubicBezTo>
                      <a:pt x="383" y="173"/>
                      <a:pt x="383" y="173"/>
                      <a:pt x="383" y="173"/>
                    </a:cubicBezTo>
                    <a:cubicBezTo>
                      <a:pt x="383" y="173"/>
                      <a:pt x="383" y="173"/>
                      <a:pt x="383" y="173"/>
                    </a:cubicBezTo>
                    <a:cubicBezTo>
                      <a:pt x="385" y="172"/>
                      <a:pt x="387" y="172"/>
                      <a:pt x="389" y="172"/>
                    </a:cubicBezTo>
                    <a:cubicBezTo>
                      <a:pt x="389" y="172"/>
                      <a:pt x="390" y="172"/>
                      <a:pt x="391" y="172"/>
                    </a:cubicBezTo>
                    <a:cubicBezTo>
                      <a:pt x="392" y="172"/>
                      <a:pt x="393" y="172"/>
                      <a:pt x="394" y="171"/>
                    </a:cubicBezTo>
                    <a:cubicBezTo>
                      <a:pt x="395" y="171"/>
                      <a:pt x="396" y="171"/>
                      <a:pt x="397" y="171"/>
                    </a:cubicBezTo>
                    <a:cubicBezTo>
                      <a:pt x="398" y="171"/>
                      <a:pt x="399" y="170"/>
                      <a:pt x="399" y="170"/>
                    </a:cubicBezTo>
                    <a:cubicBezTo>
                      <a:pt x="400" y="170"/>
                      <a:pt x="401" y="170"/>
                      <a:pt x="402" y="169"/>
                    </a:cubicBezTo>
                    <a:cubicBezTo>
                      <a:pt x="403" y="169"/>
                      <a:pt x="404" y="169"/>
                      <a:pt x="404" y="169"/>
                    </a:cubicBezTo>
                    <a:cubicBezTo>
                      <a:pt x="408" y="167"/>
                      <a:pt x="412" y="165"/>
                      <a:pt x="415" y="163"/>
                    </a:cubicBezTo>
                    <a:cubicBezTo>
                      <a:pt x="415" y="163"/>
                      <a:pt x="416" y="163"/>
                      <a:pt x="416" y="163"/>
                    </a:cubicBezTo>
                    <a:cubicBezTo>
                      <a:pt x="417" y="162"/>
                      <a:pt x="418" y="161"/>
                      <a:pt x="419" y="161"/>
                    </a:cubicBezTo>
                    <a:cubicBezTo>
                      <a:pt x="419" y="160"/>
                      <a:pt x="419" y="160"/>
                      <a:pt x="420" y="160"/>
                    </a:cubicBezTo>
                    <a:cubicBezTo>
                      <a:pt x="426" y="163"/>
                      <a:pt x="432" y="168"/>
                      <a:pt x="437" y="174"/>
                    </a:cubicBezTo>
                    <a:cubicBezTo>
                      <a:pt x="442" y="182"/>
                      <a:pt x="446" y="191"/>
                      <a:pt x="446" y="197"/>
                    </a:cubicBezTo>
                    <a:cubicBezTo>
                      <a:pt x="446" y="218"/>
                      <a:pt x="446" y="266"/>
                      <a:pt x="446" y="26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8579" tIns="34289" rIns="68579" bIns="34289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6" name="Freeform 7">
                <a:extLst>
                  <a:ext uri="{FF2B5EF4-FFF2-40B4-BE49-F238E27FC236}">
                    <a16:creationId xmlns="" xmlns:a16="http://schemas.microsoft.com/office/drawing/2014/main" id="{271D4145-F898-4756-A05A-2E520323F842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6915955" y="1449748"/>
                <a:ext cx="295606" cy="424538"/>
              </a:xfrm>
              <a:custGeom>
                <a:avLst/>
                <a:gdLst>
                  <a:gd name="T0" fmla="*/ 2147483647 w 325"/>
                  <a:gd name="T1" fmla="*/ 2147483647 h 468"/>
                  <a:gd name="T2" fmla="*/ 2147483647 w 325"/>
                  <a:gd name="T3" fmla="*/ 2147483647 h 468"/>
                  <a:gd name="T4" fmla="*/ 2147483647 w 325"/>
                  <a:gd name="T5" fmla="*/ 2147483647 h 468"/>
                  <a:gd name="T6" fmla="*/ 2147483647 w 325"/>
                  <a:gd name="T7" fmla="*/ 2147483647 h 468"/>
                  <a:gd name="T8" fmla="*/ 2147483647 w 325"/>
                  <a:gd name="T9" fmla="*/ 2147483647 h 468"/>
                  <a:gd name="T10" fmla="*/ 2147483647 w 325"/>
                  <a:gd name="T11" fmla="*/ 2147483647 h 468"/>
                  <a:gd name="T12" fmla="*/ 2147483647 w 325"/>
                  <a:gd name="T13" fmla="*/ 2147483647 h 468"/>
                  <a:gd name="T14" fmla="*/ 2147483647 w 325"/>
                  <a:gd name="T15" fmla="*/ 2147483647 h 468"/>
                  <a:gd name="T16" fmla="*/ 2147483647 w 325"/>
                  <a:gd name="T17" fmla="*/ 2147483647 h 468"/>
                  <a:gd name="T18" fmla="*/ 2147483647 w 325"/>
                  <a:gd name="T19" fmla="*/ 2147483647 h 468"/>
                  <a:gd name="T20" fmla="*/ 2147483647 w 325"/>
                  <a:gd name="T21" fmla="*/ 2147483647 h 468"/>
                  <a:gd name="T22" fmla="*/ 2147483647 w 325"/>
                  <a:gd name="T23" fmla="*/ 2147483647 h 468"/>
                  <a:gd name="T24" fmla="*/ 2147483647 w 325"/>
                  <a:gd name="T25" fmla="*/ 2147483647 h 468"/>
                  <a:gd name="T26" fmla="*/ 2147483647 w 325"/>
                  <a:gd name="T27" fmla="*/ 0 h 468"/>
                  <a:gd name="T28" fmla="*/ 0 w 325"/>
                  <a:gd name="T29" fmla="*/ 2147483647 h 468"/>
                  <a:gd name="T30" fmla="*/ 2147483647 w 325"/>
                  <a:gd name="T31" fmla="*/ 2147483647 h 468"/>
                  <a:gd name="T32" fmla="*/ 2147483647 w 325"/>
                  <a:gd name="T33" fmla="*/ 2147483647 h 468"/>
                  <a:gd name="T34" fmla="*/ 2147483647 w 325"/>
                  <a:gd name="T35" fmla="*/ 2147483647 h 468"/>
                  <a:gd name="T36" fmla="*/ 2147483647 w 325"/>
                  <a:gd name="T37" fmla="*/ 2147483647 h 468"/>
                  <a:gd name="T38" fmla="*/ 2147483647 w 325"/>
                  <a:gd name="T39" fmla="*/ 2147483647 h 468"/>
                  <a:gd name="T40" fmla="*/ 2147483647 w 325"/>
                  <a:gd name="T41" fmla="*/ 2147483647 h 468"/>
                  <a:gd name="T42" fmla="*/ 2147483647 w 325"/>
                  <a:gd name="T43" fmla="*/ 2147483647 h 468"/>
                  <a:gd name="T44" fmla="*/ 2147483647 w 325"/>
                  <a:gd name="T45" fmla="*/ 2147483647 h 468"/>
                  <a:gd name="T46" fmla="*/ 2147483647 w 325"/>
                  <a:gd name="T47" fmla="*/ 2147483647 h 468"/>
                  <a:gd name="T48" fmla="*/ 2147483647 w 325"/>
                  <a:gd name="T49" fmla="*/ 2147483647 h 468"/>
                  <a:gd name="T50" fmla="*/ 2147483647 w 325"/>
                  <a:gd name="T51" fmla="*/ 2147483647 h 468"/>
                  <a:gd name="T52" fmla="*/ 2147483647 w 325"/>
                  <a:gd name="T53" fmla="*/ 2147483647 h 468"/>
                  <a:gd name="T54" fmla="*/ 2147483647 w 325"/>
                  <a:gd name="T55" fmla="*/ 2147483647 h 468"/>
                  <a:gd name="T56" fmla="*/ 2147483647 w 325"/>
                  <a:gd name="T57" fmla="*/ 2147483647 h 468"/>
                  <a:gd name="T58" fmla="*/ 2147483647 w 325"/>
                  <a:gd name="T59" fmla="*/ 2147483647 h 468"/>
                  <a:gd name="T60" fmla="*/ 2147483647 w 325"/>
                  <a:gd name="T61" fmla="*/ 2147483647 h 468"/>
                  <a:gd name="T62" fmla="*/ 2147483647 w 325"/>
                  <a:gd name="T63" fmla="*/ 2147483647 h 468"/>
                  <a:gd name="T64" fmla="*/ 2147483647 w 325"/>
                  <a:gd name="T65" fmla="*/ 2147483647 h 468"/>
                  <a:gd name="T66" fmla="*/ 2147483647 w 325"/>
                  <a:gd name="T67" fmla="*/ 2147483647 h 468"/>
                  <a:gd name="T68" fmla="*/ 2147483647 w 325"/>
                  <a:gd name="T69" fmla="*/ 2147483647 h 468"/>
                  <a:gd name="T70" fmla="*/ 2147483647 w 325"/>
                  <a:gd name="T71" fmla="*/ 2147483647 h 468"/>
                  <a:gd name="T72" fmla="*/ 2147483647 w 325"/>
                  <a:gd name="T73" fmla="*/ 2147483647 h 468"/>
                  <a:gd name="T74" fmla="*/ 2147483647 w 325"/>
                  <a:gd name="T75" fmla="*/ 2147483647 h 468"/>
                  <a:gd name="T76" fmla="*/ 2147483647 w 325"/>
                  <a:gd name="T77" fmla="*/ 2147483647 h 468"/>
                  <a:gd name="T78" fmla="*/ 2147483647 w 325"/>
                  <a:gd name="T79" fmla="*/ 2147483647 h 468"/>
                  <a:gd name="T80" fmla="*/ 2147483647 w 325"/>
                  <a:gd name="T81" fmla="*/ 2147483647 h 468"/>
                  <a:gd name="T82" fmla="*/ 2147483647 w 325"/>
                  <a:gd name="T83" fmla="*/ 2147483647 h 468"/>
                  <a:gd name="T84" fmla="*/ 2147483647 w 325"/>
                  <a:gd name="T85" fmla="*/ 2147483647 h 468"/>
                  <a:gd name="T86" fmla="*/ 2147483647 w 325"/>
                  <a:gd name="T87" fmla="*/ 2147483647 h 468"/>
                  <a:gd name="T88" fmla="*/ 2147483647 w 325"/>
                  <a:gd name="T89" fmla="*/ 2147483647 h 468"/>
                  <a:gd name="T90" fmla="*/ 2147483647 w 325"/>
                  <a:gd name="T91" fmla="*/ 2147483647 h 468"/>
                  <a:gd name="T92" fmla="*/ 2147483647 w 325"/>
                  <a:gd name="T93" fmla="*/ 2147483647 h 468"/>
                  <a:gd name="T94" fmla="*/ 2147483647 w 325"/>
                  <a:gd name="T95" fmla="*/ 2147483647 h 468"/>
                  <a:gd name="T96" fmla="*/ 2147483647 w 325"/>
                  <a:gd name="T97" fmla="*/ 2147483647 h 468"/>
                  <a:gd name="T98" fmla="*/ 2147483647 w 325"/>
                  <a:gd name="T99" fmla="*/ 2147483647 h 468"/>
                  <a:gd name="T100" fmla="*/ 2147483647 w 325"/>
                  <a:gd name="T101" fmla="*/ 2147483647 h 468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25" h="468">
                    <a:moveTo>
                      <a:pt x="304" y="257"/>
                    </a:moveTo>
                    <a:cubicBezTo>
                      <a:pt x="304" y="79"/>
                      <a:pt x="304" y="79"/>
                      <a:pt x="304" y="79"/>
                    </a:cubicBezTo>
                    <a:cubicBezTo>
                      <a:pt x="304" y="74"/>
                      <a:pt x="301" y="71"/>
                      <a:pt x="296" y="71"/>
                    </a:cubicBezTo>
                    <a:cubicBezTo>
                      <a:pt x="292" y="71"/>
                      <a:pt x="288" y="74"/>
                      <a:pt x="288" y="79"/>
                    </a:cubicBezTo>
                    <a:cubicBezTo>
                      <a:pt x="288" y="257"/>
                      <a:pt x="288" y="257"/>
                      <a:pt x="288" y="257"/>
                    </a:cubicBezTo>
                    <a:cubicBezTo>
                      <a:pt x="286" y="258"/>
                      <a:pt x="283" y="259"/>
                      <a:pt x="281" y="261"/>
                    </a:cubicBezTo>
                    <a:cubicBezTo>
                      <a:pt x="279" y="258"/>
                      <a:pt x="276" y="255"/>
                      <a:pt x="273" y="253"/>
                    </a:cubicBezTo>
                    <a:cubicBezTo>
                      <a:pt x="273" y="53"/>
                      <a:pt x="273" y="53"/>
                      <a:pt x="273" y="53"/>
                    </a:cubicBezTo>
                    <a:cubicBezTo>
                      <a:pt x="273" y="40"/>
                      <a:pt x="265" y="32"/>
                      <a:pt x="252" y="32"/>
                    </a:cubicBezTo>
                    <a:cubicBezTo>
                      <a:pt x="53" y="32"/>
                      <a:pt x="53" y="32"/>
                      <a:pt x="53" y="32"/>
                    </a:cubicBezTo>
                    <a:cubicBezTo>
                      <a:pt x="40" y="32"/>
                      <a:pt x="32" y="40"/>
                      <a:pt x="32" y="53"/>
                    </a:cubicBezTo>
                    <a:cubicBezTo>
                      <a:pt x="32" y="328"/>
                      <a:pt x="32" y="328"/>
                      <a:pt x="32" y="328"/>
                    </a:cubicBezTo>
                    <a:cubicBezTo>
                      <a:pt x="32" y="342"/>
                      <a:pt x="39" y="349"/>
                      <a:pt x="53" y="349"/>
                    </a:cubicBezTo>
                    <a:cubicBezTo>
                      <a:pt x="107" y="349"/>
                      <a:pt x="107" y="349"/>
                      <a:pt x="107" y="349"/>
                    </a:cubicBezTo>
                    <a:cubicBezTo>
                      <a:pt x="110" y="363"/>
                      <a:pt x="114" y="375"/>
                      <a:pt x="118" y="385"/>
                    </a:cubicBezTo>
                    <a:cubicBezTo>
                      <a:pt x="119" y="387"/>
                      <a:pt x="121" y="390"/>
                      <a:pt x="122" y="393"/>
                    </a:cubicBezTo>
                    <a:cubicBezTo>
                      <a:pt x="31" y="393"/>
                      <a:pt x="31" y="393"/>
                      <a:pt x="31" y="393"/>
                    </a:cubicBezTo>
                    <a:cubicBezTo>
                      <a:pt x="23" y="393"/>
                      <a:pt x="16" y="387"/>
                      <a:pt x="16" y="379"/>
                    </a:cubicBezTo>
                    <a:cubicBezTo>
                      <a:pt x="16" y="37"/>
                      <a:pt x="16" y="37"/>
                      <a:pt x="16" y="37"/>
                    </a:cubicBezTo>
                    <a:cubicBezTo>
                      <a:pt x="16" y="27"/>
                      <a:pt x="23" y="16"/>
                      <a:pt x="36" y="16"/>
                    </a:cubicBezTo>
                    <a:cubicBezTo>
                      <a:pt x="274" y="16"/>
                      <a:pt x="274" y="16"/>
                      <a:pt x="274" y="16"/>
                    </a:cubicBezTo>
                    <a:cubicBezTo>
                      <a:pt x="282" y="16"/>
                      <a:pt x="288" y="23"/>
                      <a:pt x="288" y="31"/>
                    </a:cubicBezTo>
                    <a:cubicBezTo>
                      <a:pt x="288" y="47"/>
                      <a:pt x="288" y="47"/>
                      <a:pt x="288" y="47"/>
                    </a:cubicBezTo>
                    <a:cubicBezTo>
                      <a:pt x="288" y="51"/>
                      <a:pt x="292" y="55"/>
                      <a:pt x="296" y="55"/>
                    </a:cubicBezTo>
                    <a:cubicBezTo>
                      <a:pt x="301" y="55"/>
                      <a:pt x="304" y="51"/>
                      <a:pt x="304" y="47"/>
                    </a:cubicBezTo>
                    <a:cubicBezTo>
                      <a:pt x="304" y="31"/>
                      <a:pt x="304" y="31"/>
                      <a:pt x="304" y="31"/>
                    </a:cubicBezTo>
                    <a:cubicBezTo>
                      <a:pt x="304" y="14"/>
                      <a:pt x="291" y="0"/>
                      <a:pt x="274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6" y="0"/>
                      <a:pt x="0" y="16"/>
                      <a:pt x="0" y="37"/>
                    </a:cubicBezTo>
                    <a:cubicBezTo>
                      <a:pt x="0" y="379"/>
                      <a:pt x="0" y="379"/>
                      <a:pt x="0" y="379"/>
                    </a:cubicBezTo>
                    <a:cubicBezTo>
                      <a:pt x="0" y="396"/>
                      <a:pt x="14" y="409"/>
                      <a:pt x="31" y="409"/>
                    </a:cubicBezTo>
                    <a:cubicBezTo>
                      <a:pt x="132" y="409"/>
                      <a:pt x="132" y="409"/>
                      <a:pt x="132" y="409"/>
                    </a:cubicBezTo>
                    <a:cubicBezTo>
                      <a:pt x="150" y="435"/>
                      <a:pt x="182" y="468"/>
                      <a:pt x="235" y="468"/>
                    </a:cubicBezTo>
                    <a:cubicBezTo>
                      <a:pt x="294" y="468"/>
                      <a:pt x="325" y="427"/>
                      <a:pt x="325" y="386"/>
                    </a:cubicBezTo>
                    <a:cubicBezTo>
                      <a:pt x="325" y="282"/>
                      <a:pt x="325" y="282"/>
                      <a:pt x="325" y="282"/>
                    </a:cubicBezTo>
                    <a:cubicBezTo>
                      <a:pt x="325" y="270"/>
                      <a:pt x="316" y="260"/>
                      <a:pt x="304" y="257"/>
                    </a:cubicBezTo>
                    <a:close/>
                    <a:moveTo>
                      <a:pt x="94" y="271"/>
                    </a:moveTo>
                    <a:cubicBezTo>
                      <a:pt x="95" y="280"/>
                      <a:pt x="98" y="307"/>
                      <a:pt x="103" y="333"/>
                    </a:cubicBezTo>
                    <a:cubicBezTo>
                      <a:pt x="53" y="333"/>
                      <a:pt x="53" y="333"/>
                      <a:pt x="53" y="333"/>
                    </a:cubicBezTo>
                    <a:cubicBezTo>
                      <a:pt x="48" y="333"/>
                      <a:pt x="48" y="333"/>
                      <a:pt x="48" y="328"/>
                    </a:cubicBezTo>
                    <a:cubicBezTo>
                      <a:pt x="48" y="53"/>
                      <a:pt x="48" y="53"/>
                      <a:pt x="48" y="53"/>
                    </a:cubicBezTo>
                    <a:cubicBezTo>
                      <a:pt x="48" y="49"/>
                      <a:pt x="49" y="48"/>
                      <a:pt x="53" y="48"/>
                    </a:cubicBezTo>
                    <a:cubicBezTo>
                      <a:pt x="252" y="48"/>
                      <a:pt x="252" y="48"/>
                      <a:pt x="252" y="48"/>
                    </a:cubicBezTo>
                    <a:cubicBezTo>
                      <a:pt x="256" y="48"/>
                      <a:pt x="257" y="49"/>
                      <a:pt x="257" y="53"/>
                    </a:cubicBezTo>
                    <a:cubicBezTo>
                      <a:pt x="257" y="249"/>
                      <a:pt x="257" y="249"/>
                      <a:pt x="257" y="249"/>
                    </a:cubicBezTo>
                    <a:cubicBezTo>
                      <a:pt x="256" y="249"/>
                      <a:pt x="256" y="249"/>
                      <a:pt x="256" y="249"/>
                    </a:cubicBezTo>
                    <a:cubicBezTo>
                      <a:pt x="250" y="249"/>
                      <a:pt x="245" y="251"/>
                      <a:pt x="240" y="254"/>
                    </a:cubicBezTo>
                    <a:cubicBezTo>
                      <a:pt x="235" y="248"/>
                      <a:pt x="227" y="244"/>
                      <a:pt x="218" y="244"/>
                    </a:cubicBezTo>
                    <a:cubicBezTo>
                      <a:pt x="217" y="244"/>
                      <a:pt x="217" y="244"/>
                      <a:pt x="217" y="244"/>
                    </a:cubicBezTo>
                    <a:cubicBezTo>
                      <a:pt x="213" y="244"/>
                      <a:pt x="209" y="244"/>
                      <a:pt x="206" y="246"/>
                    </a:cubicBezTo>
                    <a:cubicBezTo>
                      <a:pt x="206" y="177"/>
                      <a:pt x="206" y="177"/>
                      <a:pt x="206" y="177"/>
                    </a:cubicBezTo>
                    <a:cubicBezTo>
                      <a:pt x="206" y="162"/>
                      <a:pt x="194" y="150"/>
                      <a:pt x="179" y="150"/>
                    </a:cubicBezTo>
                    <a:cubicBezTo>
                      <a:pt x="178" y="150"/>
                      <a:pt x="178" y="150"/>
                      <a:pt x="178" y="150"/>
                    </a:cubicBezTo>
                    <a:cubicBezTo>
                      <a:pt x="163" y="150"/>
                      <a:pt x="152" y="162"/>
                      <a:pt x="152" y="177"/>
                    </a:cubicBezTo>
                    <a:cubicBezTo>
                      <a:pt x="152" y="305"/>
                      <a:pt x="152" y="305"/>
                      <a:pt x="152" y="305"/>
                    </a:cubicBezTo>
                    <a:cubicBezTo>
                      <a:pt x="149" y="289"/>
                      <a:pt x="145" y="269"/>
                      <a:pt x="135" y="253"/>
                    </a:cubicBezTo>
                    <a:cubicBezTo>
                      <a:pt x="135" y="252"/>
                      <a:pt x="135" y="252"/>
                      <a:pt x="135" y="252"/>
                    </a:cubicBezTo>
                    <a:cubicBezTo>
                      <a:pt x="127" y="242"/>
                      <a:pt x="120" y="240"/>
                      <a:pt x="115" y="240"/>
                    </a:cubicBezTo>
                    <a:cubicBezTo>
                      <a:pt x="109" y="240"/>
                      <a:pt x="104" y="242"/>
                      <a:pt x="101" y="246"/>
                    </a:cubicBezTo>
                    <a:cubicBezTo>
                      <a:pt x="95" y="252"/>
                      <a:pt x="93" y="261"/>
                      <a:pt x="94" y="271"/>
                    </a:cubicBezTo>
                    <a:close/>
                    <a:moveTo>
                      <a:pt x="309" y="386"/>
                    </a:moveTo>
                    <a:cubicBezTo>
                      <a:pt x="309" y="418"/>
                      <a:pt x="286" y="452"/>
                      <a:pt x="235" y="452"/>
                    </a:cubicBezTo>
                    <a:cubicBezTo>
                      <a:pt x="173" y="452"/>
                      <a:pt x="143" y="400"/>
                      <a:pt x="133" y="378"/>
                    </a:cubicBezTo>
                    <a:cubicBezTo>
                      <a:pt x="121" y="352"/>
                      <a:pt x="112" y="293"/>
                      <a:pt x="110" y="270"/>
                    </a:cubicBezTo>
                    <a:cubicBezTo>
                      <a:pt x="109" y="263"/>
                      <a:pt x="111" y="259"/>
                      <a:pt x="112" y="257"/>
                    </a:cubicBezTo>
                    <a:cubicBezTo>
                      <a:pt x="113" y="256"/>
                      <a:pt x="114" y="256"/>
                      <a:pt x="115" y="256"/>
                    </a:cubicBezTo>
                    <a:cubicBezTo>
                      <a:pt x="116" y="256"/>
                      <a:pt x="118" y="257"/>
                      <a:pt x="121" y="261"/>
                    </a:cubicBezTo>
                    <a:cubicBezTo>
                      <a:pt x="130" y="276"/>
                      <a:pt x="133" y="294"/>
                      <a:pt x="136" y="309"/>
                    </a:cubicBezTo>
                    <a:cubicBezTo>
                      <a:pt x="139" y="327"/>
                      <a:pt x="142" y="344"/>
                      <a:pt x="157" y="344"/>
                    </a:cubicBezTo>
                    <a:cubicBezTo>
                      <a:pt x="159" y="344"/>
                      <a:pt x="160" y="344"/>
                      <a:pt x="161" y="344"/>
                    </a:cubicBezTo>
                    <a:cubicBezTo>
                      <a:pt x="165" y="343"/>
                      <a:pt x="168" y="340"/>
                      <a:pt x="168" y="336"/>
                    </a:cubicBezTo>
                    <a:cubicBezTo>
                      <a:pt x="168" y="177"/>
                      <a:pt x="168" y="177"/>
                      <a:pt x="168" y="177"/>
                    </a:cubicBezTo>
                    <a:cubicBezTo>
                      <a:pt x="168" y="171"/>
                      <a:pt x="172" y="166"/>
                      <a:pt x="178" y="166"/>
                    </a:cubicBezTo>
                    <a:cubicBezTo>
                      <a:pt x="179" y="166"/>
                      <a:pt x="179" y="166"/>
                      <a:pt x="179" y="166"/>
                    </a:cubicBezTo>
                    <a:cubicBezTo>
                      <a:pt x="185" y="166"/>
                      <a:pt x="190" y="171"/>
                      <a:pt x="190" y="177"/>
                    </a:cubicBezTo>
                    <a:cubicBezTo>
                      <a:pt x="190" y="270"/>
                      <a:pt x="190" y="270"/>
                      <a:pt x="190" y="270"/>
                    </a:cubicBezTo>
                    <a:cubicBezTo>
                      <a:pt x="190" y="274"/>
                      <a:pt x="193" y="278"/>
                      <a:pt x="198" y="278"/>
                    </a:cubicBezTo>
                    <a:cubicBezTo>
                      <a:pt x="202" y="278"/>
                      <a:pt x="206" y="274"/>
                      <a:pt x="206" y="270"/>
                    </a:cubicBezTo>
                    <a:cubicBezTo>
                      <a:pt x="206" y="264"/>
                      <a:pt x="211" y="260"/>
                      <a:pt x="217" y="260"/>
                    </a:cubicBezTo>
                    <a:cubicBezTo>
                      <a:pt x="218" y="260"/>
                      <a:pt x="218" y="260"/>
                      <a:pt x="218" y="260"/>
                    </a:cubicBezTo>
                    <a:cubicBezTo>
                      <a:pt x="224" y="260"/>
                      <a:pt x="229" y="264"/>
                      <a:pt x="229" y="270"/>
                    </a:cubicBezTo>
                    <a:cubicBezTo>
                      <a:pt x="229" y="275"/>
                      <a:pt x="229" y="275"/>
                      <a:pt x="229" y="275"/>
                    </a:cubicBezTo>
                    <a:cubicBezTo>
                      <a:pt x="229" y="280"/>
                      <a:pt x="233" y="283"/>
                      <a:pt x="237" y="283"/>
                    </a:cubicBezTo>
                    <a:cubicBezTo>
                      <a:pt x="242" y="283"/>
                      <a:pt x="245" y="280"/>
                      <a:pt x="245" y="275"/>
                    </a:cubicBezTo>
                    <a:cubicBezTo>
                      <a:pt x="245" y="270"/>
                      <a:pt x="250" y="265"/>
                      <a:pt x="256" y="265"/>
                    </a:cubicBezTo>
                    <a:cubicBezTo>
                      <a:pt x="258" y="265"/>
                      <a:pt x="258" y="265"/>
                      <a:pt x="258" y="265"/>
                    </a:cubicBezTo>
                    <a:cubicBezTo>
                      <a:pt x="264" y="265"/>
                      <a:pt x="269" y="270"/>
                      <a:pt x="269" y="275"/>
                    </a:cubicBezTo>
                    <a:cubicBezTo>
                      <a:pt x="269" y="282"/>
                      <a:pt x="269" y="282"/>
                      <a:pt x="269" y="282"/>
                    </a:cubicBezTo>
                    <a:cubicBezTo>
                      <a:pt x="269" y="287"/>
                      <a:pt x="273" y="290"/>
                      <a:pt x="277" y="290"/>
                    </a:cubicBezTo>
                    <a:cubicBezTo>
                      <a:pt x="281" y="290"/>
                      <a:pt x="285" y="287"/>
                      <a:pt x="285" y="282"/>
                    </a:cubicBezTo>
                    <a:cubicBezTo>
                      <a:pt x="285" y="277"/>
                      <a:pt x="290" y="272"/>
                      <a:pt x="296" y="272"/>
                    </a:cubicBezTo>
                    <a:cubicBezTo>
                      <a:pt x="298" y="272"/>
                      <a:pt x="298" y="272"/>
                      <a:pt x="298" y="272"/>
                    </a:cubicBezTo>
                    <a:cubicBezTo>
                      <a:pt x="304" y="272"/>
                      <a:pt x="309" y="277"/>
                      <a:pt x="309" y="282"/>
                    </a:cubicBezTo>
                    <a:lnTo>
                      <a:pt x="309" y="386"/>
                    </a:lnTo>
                    <a:close/>
                    <a:moveTo>
                      <a:pt x="88" y="380"/>
                    </a:moveTo>
                    <a:cubicBezTo>
                      <a:pt x="91" y="380"/>
                      <a:pt x="93" y="378"/>
                      <a:pt x="93" y="375"/>
                    </a:cubicBezTo>
                    <a:cubicBezTo>
                      <a:pt x="93" y="367"/>
                      <a:pt x="93" y="367"/>
                      <a:pt x="93" y="367"/>
                    </a:cubicBezTo>
                    <a:cubicBezTo>
                      <a:pt x="93" y="365"/>
                      <a:pt x="91" y="363"/>
                      <a:pt x="88" y="363"/>
                    </a:cubicBezTo>
                    <a:cubicBezTo>
                      <a:pt x="70" y="363"/>
                      <a:pt x="70" y="363"/>
                      <a:pt x="70" y="363"/>
                    </a:cubicBezTo>
                    <a:cubicBezTo>
                      <a:pt x="68" y="363"/>
                      <a:pt x="66" y="365"/>
                      <a:pt x="66" y="367"/>
                    </a:cubicBezTo>
                    <a:cubicBezTo>
                      <a:pt x="66" y="375"/>
                      <a:pt x="66" y="375"/>
                      <a:pt x="66" y="375"/>
                    </a:cubicBezTo>
                    <a:cubicBezTo>
                      <a:pt x="66" y="378"/>
                      <a:pt x="68" y="380"/>
                      <a:pt x="70" y="380"/>
                    </a:cubicBezTo>
                    <a:lnTo>
                      <a:pt x="88" y="38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8579" tIns="34289" rIns="68579" bIns="34289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7" name="Freeform 3">
                <a:extLst>
                  <a:ext uri="{FF2B5EF4-FFF2-40B4-BE49-F238E27FC236}">
                    <a16:creationId xmlns="" xmlns:a16="http://schemas.microsoft.com/office/drawing/2014/main" id="{F4A7445B-66D6-435C-B32C-FC5C8AE34465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8824973" y="1473712"/>
                <a:ext cx="269875" cy="250825"/>
              </a:xfrm>
              <a:custGeom>
                <a:avLst/>
                <a:gdLst>
                  <a:gd name="T0" fmla="*/ 2147483647 w 455"/>
                  <a:gd name="T1" fmla="*/ 2147483647 h 418"/>
                  <a:gd name="T2" fmla="*/ 2147483647 w 455"/>
                  <a:gd name="T3" fmla="*/ 2147483647 h 418"/>
                  <a:gd name="T4" fmla="*/ 2147483647 w 455"/>
                  <a:gd name="T5" fmla="*/ 2147483647 h 418"/>
                  <a:gd name="T6" fmla="*/ 2147483647 w 455"/>
                  <a:gd name="T7" fmla="*/ 2147483647 h 418"/>
                  <a:gd name="T8" fmla="*/ 2147483647 w 455"/>
                  <a:gd name="T9" fmla="*/ 2147483647 h 418"/>
                  <a:gd name="T10" fmla="*/ 2147483647 w 455"/>
                  <a:gd name="T11" fmla="*/ 969523976 h 418"/>
                  <a:gd name="T12" fmla="*/ 2147483647 w 455"/>
                  <a:gd name="T13" fmla="*/ 2147483647 h 418"/>
                  <a:gd name="T14" fmla="*/ 225082532 w 455"/>
                  <a:gd name="T15" fmla="*/ 2147483647 h 418"/>
                  <a:gd name="T16" fmla="*/ 253216442 w 455"/>
                  <a:gd name="T17" fmla="*/ 224818458 h 418"/>
                  <a:gd name="T18" fmla="*/ 2147483647 w 455"/>
                  <a:gd name="T19" fmla="*/ 252920765 h 418"/>
                  <a:gd name="T20" fmla="*/ 2147483647 w 455"/>
                  <a:gd name="T21" fmla="*/ 688500904 h 418"/>
                  <a:gd name="T22" fmla="*/ 2147483647 w 455"/>
                  <a:gd name="T23" fmla="*/ 576095424 h 418"/>
                  <a:gd name="T24" fmla="*/ 2147483647 w 455"/>
                  <a:gd name="T25" fmla="*/ 0 h 418"/>
                  <a:gd name="T26" fmla="*/ 0 w 455"/>
                  <a:gd name="T27" fmla="*/ 252920765 h 418"/>
                  <a:gd name="T28" fmla="*/ 253216442 w 455"/>
                  <a:gd name="T29" fmla="*/ 2147483647 h 418"/>
                  <a:gd name="T30" fmla="*/ 2147483647 w 455"/>
                  <a:gd name="T31" fmla="*/ 2147483647 h 418"/>
                  <a:gd name="T32" fmla="*/ 2147483647 w 455"/>
                  <a:gd name="T33" fmla="*/ 2147483647 h 418"/>
                  <a:gd name="T34" fmla="*/ 1308292453 w 455"/>
                  <a:gd name="T35" fmla="*/ 2147483647 h 418"/>
                  <a:gd name="T36" fmla="*/ 1237952052 w 455"/>
                  <a:gd name="T37" fmla="*/ 2147483647 h 418"/>
                  <a:gd name="T38" fmla="*/ 2147483647 w 455"/>
                  <a:gd name="T39" fmla="*/ 2147483647 h 418"/>
                  <a:gd name="T40" fmla="*/ 2147483647 w 455"/>
                  <a:gd name="T41" fmla="*/ 2147483647 h 418"/>
                  <a:gd name="T42" fmla="*/ 2147483647 w 455"/>
                  <a:gd name="T43" fmla="*/ 2147483647 h 418"/>
                  <a:gd name="T44" fmla="*/ 2147483647 w 455"/>
                  <a:gd name="T45" fmla="*/ 2147483647 h 418"/>
                  <a:gd name="T46" fmla="*/ 2147483647 w 455"/>
                  <a:gd name="T47" fmla="*/ 2147483647 h 418"/>
                  <a:gd name="T48" fmla="*/ 2147483647 w 455"/>
                  <a:gd name="T49" fmla="*/ 2147483647 h 418"/>
                  <a:gd name="T50" fmla="*/ 2147483647 w 455"/>
                  <a:gd name="T51" fmla="*/ 857114747 h 418"/>
                  <a:gd name="T52" fmla="*/ 2147483647 w 455"/>
                  <a:gd name="T53" fmla="*/ 2147483647 h 418"/>
                  <a:gd name="T54" fmla="*/ 2147483647 w 455"/>
                  <a:gd name="T55" fmla="*/ 2147483647 h 418"/>
                  <a:gd name="T56" fmla="*/ 2147483647 w 455"/>
                  <a:gd name="T57" fmla="*/ 2147483647 h 418"/>
                  <a:gd name="T58" fmla="*/ 2147483647 w 455"/>
                  <a:gd name="T59" fmla="*/ 2147483647 h 418"/>
                  <a:gd name="T60" fmla="*/ 2147483647 w 455"/>
                  <a:gd name="T61" fmla="*/ 2147483647 h 418"/>
                  <a:gd name="T62" fmla="*/ 2147483647 w 455"/>
                  <a:gd name="T63" fmla="*/ 2147483647 h 418"/>
                  <a:gd name="T64" fmla="*/ 1856931829 w 455"/>
                  <a:gd name="T65" fmla="*/ 2147483647 h 418"/>
                  <a:gd name="T66" fmla="*/ 1392697934 w 455"/>
                  <a:gd name="T67" fmla="*/ 2147483647 h 418"/>
                  <a:gd name="T68" fmla="*/ 1744388688 w 455"/>
                  <a:gd name="T69" fmla="*/ 2147483647 h 418"/>
                  <a:gd name="T70" fmla="*/ 2147483647 w 455"/>
                  <a:gd name="T71" fmla="*/ 2147483647 h 418"/>
                  <a:gd name="T72" fmla="*/ 2147483647 w 455"/>
                  <a:gd name="T73" fmla="*/ 2147483647 h 418"/>
                  <a:gd name="T74" fmla="*/ 2147483647 w 455"/>
                  <a:gd name="T75" fmla="*/ 2147483647 h 418"/>
                  <a:gd name="T76" fmla="*/ 2147483647 w 455"/>
                  <a:gd name="T77" fmla="*/ 2147483647 h 418"/>
                  <a:gd name="T78" fmla="*/ 2147483647 w 455"/>
                  <a:gd name="T79" fmla="*/ 2147483647 h 418"/>
                  <a:gd name="T80" fmla="*/ 2147483647 w 455"/>
                  <a:gd name="T81" fmla="*/ 2147483647 h 418"/>
                  <a:gd name="T82" fmla="*/ 2147483647 w 455"/>
                  <a:gd name="T83" fmla="*/ 2147483647 h 418"/>
                  <a:gd name="T84" fmla="*/ 2147483647 w 455"/>
                  <a:gd name="T85" fmla="*/ 2147483647 h 418"/>
                  <a:gd name="T86" fmla="*/ 2147483647 w 455"/>
                  <a:gd name="T87" fmla="*/ 407481580 h 418"/>
                  <a:gd name="T88" fmla="*/ 379828414 w 455"/>
                  <a:gd name="T89" fmla="*/ 646349317 h 418"/>
                  <a:gd name="T90" fmla="*/ 618976026 w 455"/>
                  <a:gd name="T91" fmla="*/ 2147483647 h 418"/>
                  <a:gd name="T92" fmla="*/ 2147483647 w 455"/>
                  <a:gd name="T93" fmla="*/ 2147483647 h 418"/>
                  <a:gd name="T94" fmla="*/ 2147483647 w 455"/>
                  <a:gd name="T95" fmla="*/ 2147483647 h 418"/>
                  <a:gd name="T96" fmla="*/ 618976026 w 455"/>
                  <a:gd name="T97" fmla="*/ 2147483647 h 418"/>
                  <a:gd name="T98" fmla="*/ 604907196 w 455"/>
                  <a:gd name="T99" fmla="*/ 646349317 h 418"/>
                  <a:gd name="T100" fmla="*/ 2147483647 w 455"/>
                  <a:gd name="T101" fmla="*/ 632296290 h 418"/>
                  <a:gd name="T102" fmla="*/ 2147483647 w 455"/>
                  <a:gd name="T103" fmla="*/ 2147483647 h 418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455"/>
                  <a:gd name="T157" fmla="*/ 0 h 418"/>
                  <a:gd name="T158" fmla="*/ 455 w 455"/>
                  <a:gd name="T159" fmla="*/ 418 h 418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455" h="418">
                    <a:moveTo>
                      <a:pt x="385" y="294"/>
                    </a:moveTo>
                    <a:cubicBezTo>
                      <a:pt x="385" y="298"/>
                      <a:pt x="389" y="301"/>
                      <a:pt x="393" y="301"/>
                    </a:cubicBezTo>
                    <a:cubicBezTo>
                      <a:pt x="397" y="301"/>
                      <a:pt x="400" y="298"/>
                      <a:pt x="400" y="294"/>
                    </a:cubicBezTo>
                    <a:cubicBezTo>
                      <a:pt x="400" y="290"/>
                      <a:pt x="397" y="287"/>
                      <a:pt x="393" y="287"/>
                    </a:cubicBezTo>
                    <a:cubicBezTo>
                      <a:pt x="389" y="287"/>
                      <a:pt x="385" y="290"/>
                      <a:pt x="385" y="294"/>
                    </a:cubicBezTo>
                    <a:close/>
                    <a:moveTo>
                      <a:pt x="412" y="294"/>
                    </a:moveTo>
                    <a:cubicBezTo>
                      <a:pt x="412" y="298"/>
                      <a:pt x="415" y="301"/>
                      <a:pt x="419" y="301"/>
                    </a:cubicBezTo>
                    <a:cubicBezTo>
                      <a:pt x="423" y="301"/>
                      <a:pt x="426" y="298"/>
                      <a:pt x="426" y="294"/>
                    </a:cubicBezTo>
                    <a:cubicBezTo>
                      <a:pt x="426" y="290"/>
                      <a:pt x="423" y="287"/>
                      <a:pt x="419" y="287"/>
                    </a:cubicBezTo>
                    <a:cubicBezTo>
                      <a:pt x="415" y="287"/>
                      <a:pt x="412" y="290"/>
                      <a:pt x="412" y="294"/>
                    </a:cubicBezTo>
                    <a:close/>
                    <a:moveTo>
                      <a:pt x="447" y="61"/>
                    </a:moveTo>
                    <a:cubicBezTo>
                      <a:pt x="443" y="61"/>
                      <a:pt x="439" y="65"/>
                      <a:pt x="439" y="69"/>
                    </a:cubicBezTo>
                    <a:cubicBezTo>
                      <a:pt x="439" y="310"/>
                      <a:pt x="439" y="310"/>
                      <a:pt x="439" y="310"/>
                    </a:cubicBezTo>
                    <a:cubicBezTo>
                      <a:pt x="439" y="311"/>
                      <a:pt x="438" y="312"/>
                      <a:pt x="437" y="312"/>
                    </a:cubicBezTo>
                    <a:cubicBezTo>
                      <a:pt x="18" y="312"/>
                      <a:pt x="18" y="312"/>
                      <a:pt x="18" y="312"/>
                    </a:cubicBezTo>
                    <a:cubicBezTo>
                      <a:pt x="17" y="312"/>
                      <a:pt x="16" y="311"/>
                      <a:pt x="16" y="310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6" y="17"/>
                      <a:pt x="17" y="16"/>
                      <a:pt x="18" y="16"/>
                    </a:cubicBezTo>
                    <a:cubicBezTo>
                      <a:pt x="437" y="16"/>
                      <a:pt x="437" y="16"/>
                      <a:pt x="437" y="16"/>
                    </a:cubicBezTo>
                    <a:cubicBezTo>
                      <a:pt x="438" y="16"/>
                      <a:pt x="439" y="17"/>
                      <a:pt x="439" y="18"/>
                    </a:cubicBezTo>
                    <a:cubicBezTo>
                      <a:pt x="439" y="41"/>
                      <a:pt x="439" y="41"/>
                      <a:pt x="439" y="41"/>
                    </a:cubicBezTo>
                    <a:cubicBezTo>
                      <a:pt x="439" y="46"/>
                      <a:pt x="443" y="49"/>
                      <a:pt x="447" y="49"/>
                    </a:cubicBezTo>
                    <a:cubicBezTo>
                      <a:pt x="451" y="49"/>
                      <a:pt x="455" y="46"/>
                      <a:pt x="455" y="41"/>
                    </a:cubicBezTo>
                    <a:cubicBezTo>
                      <a:pt x="455" y="41"/>
                      <a:pt x="455" y="41"/>
                      <a:pt x="455" y="41"/>
                    </a:cubicBezTo>
                    <a:cubicBezTo>
                      <a:pt x="455" y="18"/>
                      <a:pt x="455" y="18"/>
                      <a:pt x="455" y="18"/>
                    </a:cubicBezTo>
                    <a:cubicBezTo>
                      <a:pt x="455" y="8"/>
                      <a:pt x="447" y="0"/>
                      <a:pt x="437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310"/>
                      <a:pt x="0" y="310"/>
                      <a:pt x="0" y="310"/>
                    </a:cubicBezTo>
                    <a:cubicBezTo>
                      <a:pt x="0" y="320"/>
                      <a:pt x="8" y="328"/>
                      <a:pt x="18" y="328"/>
                    </a:cubicBezTo>
                    <a:cubicBezTo>
                      <a:pt x="175" y="328"/>
                      <a:pt x="175" y="328"/>
                      <a:pt x="175" y="328"/>
                    </a:cubicBezTo>
                    <a:cubicBezTo>
                      <a:pt x="175" y="328"/>
                      <a:pt x="175" y="328"/>
                      <a:pt x="175" y="328"/>
                    </a:cubicBezTo>
                    <a:cubicBezTo>
                      <a:pt x="175" y="331"/>
                      <a:pt x="175" y="336"/>
                      <a:pt x="175" y="344"/>
                    </a:cubicBezTo>
                    <a:cubicBezTo>
                      <a:pt x="175" y="345"/>
                      <a:pt x="175" y="346"/>
                      <a:pt x="175" y="347"/>
                    </a:cubicBezTo>
                    <a:cubicBezTo>
                      <a:pt x="150" y="349"/>
                      <a:pt x="129" y="353"/>
                      <a:pt x="114" y="357"/>
                    </a:cubicBezTo>
                    <a:cubicBezTo>
                      <a:pt x="105" y="360"/>
                      <a:pt x="98" y="363"/>
                      <a:pt x="93" y="366"/>
                    </a:cubicBezTo>
                    <a:cubicBezTo>
                      <a:pt x="88" y="369"/>
                      <a:pt x="83" y="374"/>
                      <a:pt x="83" y="382"/>
                    </a:cubicBezTo>
                    <a:cubicBezTo>
                      <a:pt x="83" y="386"/>
                      <a:pt x="85" y="390"/>
                      <a:pt x="88" y="393"/>
                    </a:cubicBezTo>
                    <a:cubicBezTo>
                      <a:pt x="92" y="398"/>
                      <a:pt x="99" y="401"/>
                      <a:pt x="108" y="404"/>
                    </a:cubicBezTo>
                    <a:cubicBezTo>
                      <a:pt x="133" y="412"/>
                      <a:pt x="176" y="418"/>
                      <a:pt x="226" y="418"/>
                    </a:cubicBezTo>
                    <a:cubicBezTo>
                      <a:pt x="264" y="418"/>
                      <a:pt x="299" y="415"/>
                      <a:pt x="324" y="409"/>
                    </a:cubicBezTo>
                    <a:cubicBezTo>
                      <a:pt x="337" y="407"/>
                      <a:pt x="347" y="404"/>
                      <a:pt x="355" y="400"/>
                    </a:cubicBezTo>
                    <a:cubicBezTo>
                      <a:pt x="359" y="398"/>
                      <a:pt x="362" y="396"/>
                      <a:pt x="365" y="393"/>
                    </a:cubicBezTo>
                    <a:cubicBezTo>
                      <a:pt x="368" y="390"/>
                      <a:pt x="370" y="386"/>
                      <a:pt x="370" y="382"/>
                    </a:cubicBezTo>
                    <a:cubicBezTo>
                      <a:pt x="370" y="374"/>
                      <a:pt x="365" y="369"/>
                      <a:pt x="360" y="366"/>
                    </a:cubicBezTo>
                    <a:cubicBezTo>
                      <a:pt x="345" y="357"/>
                      <a:pt x="316" y="351"/>
                      <a:pt x="279" y="348"/>
                    </a:cubicBezTo>
                    <a:cubicBezTo>
                      <a:pt x="279" y="346"/>
                      <a:pt x="279" y="345"/>
                      <a:pt x="279" y="344"/>
                    </a:cubicBezTo>
                    <a:cubicBezTo>
                      <a:pt x="279" y="335"/>
                      <a:pt x="279" y="330"/>
                      <a:pt x="279" y="328"/>
                    </a:cubicBezTo>
                    <a:cubicBezTo>
                      <a:pt x="437" y="328"/>
                      <a:pt x="437" y="328"/>
                      <a:pt x="437" y="328"/>
                    </a:cubicBezTo>
                    <a:cubicBezTo>
                      <a:pt x="447" y="328"/>
                      <a:pt x="455" y="320"/>
                      <a:pt x="455" y="310"/>
                    </a:cubicBezTo>
                    <a:cubicBezTo>
                      <a:pt x="455" y="69"/>
                      <a:pt x="455" y="69"/>
                      <a:pt x="455" y="69"/>
                    </a:cubicBezTo>
                    <a:cubicBezTo>
                      <a:pt x="455" y="65"/>
                      <a:pt x="451" y="61"/>
                      <a:pt x="447" y="61"/>
                    </a:cubicBezTo>
                    <a:close/>
                    <a:moveTo>
                      <a:pt x="290" y="387"/>
                    </a:moveTo>
                    <a:cubicBezTo>
                      <a:pt x="291" y="388"/>
                      <a:pt x="292" y="388"/>
                      <a:pt x="293" y="388"/>
                    </a:cubicBezTo>
                    <a:cubicBezTo>
                      <a:pt x="296" y="388"/>
                      <a:pt x="299" y="386"/>
                      <a:pt x="301" y="383"/>
                    </a:cubicBezTo>
                    <a:cubicBezTo>
                      <a:pt x="302" y="379"/>
                      <a:pt x="300" y="374"/>
                      <a:pt x="296" y="373"/>
                    </a:cubicBezTo>
                    <a:cubicBezTo>
                      <a:pt x="296" y="373"/>
                      <a:pt x="296" y="373"/>
                      <a:pt x="296" y="372"/>
                    </a:cubicBezTo>
                    <a:cubicBezTo>
                      <a:pt x="294" y="372"/>
                      <a:pt x="290" y="369"/>
                      <a:pt x="286" y="365"/>
                    </a:cubicBezTo>
                    <a:cubicBezTo>
                      <a:pt x="286" y="365"/>
                      <a:pt x="286" y="364"/>
                      <a:pt x="286" y="364"/>
                    </a:cubicBezTo>
                    <a:cubicBezTo>
                      <a:pt x="306" y="366"/>
                      <a:pt x="323" y="369"/>
                      <a:pt x="335" y="373"/>
                    </a:cubicBezTo>
                    <a:cubicBezTo>
                      <a:pt x="342" y="375"/>
                      <a:pt x="348" y="378"/>
                      <a:pt x="351" y="380"/>
                    </a:cubicBezTo>
                    <a:cubicBezTo>
                      <a:pt x="352" y="380"/>
                      <a:pt x="353" y="381"/>
                      <a:pt x="354" y="382"/>
                    </a:cubicBezTo>
                    <a:cubicBezTo>
                      <a:pt x="353" y="382"/>
                      <a:pt x="353" y="382"/>
                      <a:pt x="352" y="383"/>
                    </a:cubicBezTo>
                    <a:cubicBezTo>
                      <a:pt x="346" y="387"/>
                      <a:pt x="329" y="393"/>
                      <a:pt x="307" y="396"/>
                    </a:cubicBezTo>
                    <a:cubicBezTo>
                      <a:pt x="285" y="400"/>
                      <a:pt x="257" y="402"/>
                      <a:pt x="226" y="402"/>
                    </a:cubicBezTo>
                    <a:cubicBezTo>
                      <a:pt x="189" y="402"/>
                      <a:pt x="156" y="399"/>
                      <a:pt x="132" y="394"/>
                    </a:cubicBezTo>
                    <a:cubicBezTo>
                      <a:pt x="120" y="391"/>
                      <a:pt x="111" y="388"/>
                      <a:pt x="105" y="385"/>
                    </a:cubicBezTo>
                    <a:cubicBezTo>
                      <a:pt x="102" y="384"/>
                      <a:pt x="100" y="382"/>
                      <a:pt x="99" y="382"/>
                    </a:cubicBezTo>
                    <a:cubicBezTo>
                      <a:pt x="99" y="382"/>
                      <a:pt x="99" y="382"/>
                      <a:pt x="99" y="382"/>
                    </a:cubicBezTo>
                    <a:cubicBezTo>
                      <a:pt x="101" y="379"/>
                      <a:pt x="110" y="374"/>
                      <a:pt x="124" y="371"/>
                    </a:cubicBezTo>
                    <a:cubicBezTo>
                      <a:pt x="136" y="368"/>
                      <a:pt x="151" y="366"/>
                      <a:pt x="168" y="364"/>
                    </a:cubicBezTo>
                    <a:cubicBezTo>
                      <a:pt x="168" y="365"/>
                      <a:pt x="167" y="366"/>
                      <a:pt x="166" y="366"/>
                    </a:cubicBezTo>
                    <a:cubicBezTo>
                      <a:pt x="164" y="369"/>
                      <a:pt x="162" y="370"/>
                      <a:pt x="160" y="371"/>
                    </a:cubicBezTo>
                    <a:cubicBezTo>
                      <a:pt x="159" y="372"/>
                      <a:pt x="159" y="372"/>
                      <a:pt x="158" y="372"/>
                    </a:cubicBezTo>
                    <a:cubicBezTo>
                      <a:pt x="158" y="372"/>
                      <a:pt x="158" y="372"/>
                      <a:pt x="158" y="373"/>
                    </a:cubicBezTo>
                    <a:cubicBezTo>
                      <a:pt x="154" y="374"/>
                      <a:pt x="152" y="379"/>
                      <a:pt x="153" y="383"/>
                    </a:cubicBezTo>
                    <a:cubicBezTo>
                      <a:pt x="155" y="386"/>
                      <a:pt x="158" y="388"/>
                      <a:pt x="161" y="388"/>
                    </a:cubicBezTo>
                    <a:cubicBezTo>
                      <a:pt x="162" y="388"/>
                      <a:pt x="163" y="388"/>
                      <a:pt x="164" y="387"/>
                    </a:cubicBezTo>
                    <a:cubicBezTo>
                      <a:pt x="164" y="387"/>
                      <a:pt x="171" y="384"/>
                      <a:pt x="177" y="378"/>
                    </a:cubicBezTo>
                    <a:cubicBezTo>
                      <a:pt x="184" y="371"/>
                      <a:pt x="191" y="360"/>
                      <a:pt x="191" y="344"/>
                    </a:cubicBezTo>
                    <a:cubicBezTo>
                      <a:pt x="191" y="335"/>
                      <a:pt x="191" y="330"/>
                      <a:pt x="191" y="328"/>
                    </a:cubicBezTo>
                    <a:cubicBezTo>
                      <a:pt x="263" y="328"/>
                      <a:pt x="263" y="328"/>
                      <a:pt x="263" y="328"/>
                    </a:cubicBezTo>
                    <a:cubicBezTo>
                      <a:pt x="263" y="328"/>
                      <a:pt x="263" y="328"/>
                      <a:pt x="263" y="328"/>
                    </a:cubicBezTo>
                    <a:cubicBezTo>
                      <a:pt x="263" y="331"/>
                      <a:pt x="263" y="336"/>
                      <a:pt x="263" y="344"/>
                    </a:cubicBezTo>
                    <a:cubicBezTo>
                      <a:pt x="263" y="360"/>
                      <a:pt x="270" y="371"/>
                      <a:pt x="276" y="378"/>
                    </a:cubicBezTo>
                    <a:cubicBezTo>
                      <a:pt x="283" y="384"/>
                      <a:pt x="290" y="387"/>
                      <a:pt x="290" y="387"/>
                    </a:cubicBezTo>
                    <a:close/>
                    <a:moveTo>
                      <a:pt x="427" y="46"/>
                    </a:moveTo>
                    <a:cubicBezTo>
                      <a:pt x="427" y="37"/>
                      <a:pt x="420" y="29"/>
                      <a:pt x="411" y="29"/>
                    </a:cubicBezTo>
                    <a:cubicBezTo>
                      <a:pt x="44" y="29"/>
                      <a:pt x="44" y="29"/>
                      <a:pt x="44" y="29"/>
                    </a:cubicBezTo>
                    <a:cubicBezTo>
                      <a:pt x="35" y="29"/>
                      <a:pt x="27" y="37"/>
                      <a:pt x="27" y="46"/>
                    </a:cubicBezTo>
                    <a:cubicBezTo>
                      <a:pt x="27" y="259"/>
                      <a:pt x="27" y="259"/>
                      <a:pt x="27" y="259"/>
                    </a:cubicBezTo>
                    <a:cubicBezTo>
                      <a:pt x="27" y="268"/>
                      <a:pt x="35" y="276"/>
                      <a:pt x="44" y="276"/>
                    </a:cubicBezTo>
                    <a:cubicBezTo>
                      <a:pt x="411" y="276"/>
                      <a:pt x="411" y="276"/>
                      <a:pt x="411" y="276"/>
                    </a:cubicBezTo>
                    <a:cubicBezTo>
                      <a:pt x="420" y="276"/>
                      <a:pt x="427" y="268"/>
                      <a:pt x="427" y="259"/>
                    </a:cubicBezTo>
                    <a:lnTo>
                      <a:pt x="427" y="46"/>
                    </a:lnTo>
                    <a:close/>
                    <a:moveTo>
                      <a:pt x="411" y="259"/>
                    </a:moveTo>
                    <a:cubicBezTo>
                      <a:pt x="411" y="260"/>
                      <a:pt x="411" y="260"/>
                      <a:pt x="411" y="260"/>
                    </a:cubicBezTo>
                    <a:cubicBezTo>
                      <a:pt x="44" y="260"/>
                      <a:pt x="44" y="260"/>
                      <a:pt x="44" y="260"/>
                    </a:cubicBezTo>
                    <a:cubicBezTo>
                      <a:pt x="44" y="260"/>
                      <a:pt x="43" y="260"/>
                      <a:pt x="43" y="259"/>
                    </a:cubicBezTo>
                    <a:cubicBezTo>
                      <a:pt x="43" y="46"/>
                      <a:pt x="43" y="46"/>
                      <a:pt x="43" y="46"/>
                    </a:cubicBezTo>
                    <a:cubicBezTo>
                      <a:pt x="43" y="46"/>
                      <a:pt x="44" y="45"/>
                      <a:pt x="44" y="45"/>
                    </a:cubicBezTo>
                    <a:cubicBezTo>
                      <a:pt x="411" y="45"/>
                      <a:pt x="411" y="45"/>
                      <a:pt x="411" y="45"/>
                    </a:cubicBezTo>
                    <a:cubicBezTo>
                      <a:pt x="411" y="45"/>
                      <a:pt x="411" y="46"/>
                      <a:pt x="411" y="46"/>
                    </a:cubicBezTo>
                    <a:lnTo>
                      <a:pt x="411" y="25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lIns="68579" tIns="34289" rIns="68579" bIns="34289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1800" b="0" i="0" u="none" strike="noStrike" kern="1200" cap="none" spc="0" normalizeH="0" baseline="0" noProof="0">
                  <a:ln>
                    <a:noFill/>
                  </a:ln>
                  <a:solidFill>
                    <a:srgbClr val="66006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charset="0"/>
                </a:endParaRPr>
              </a:p>
            </p:txBody>
          </p:sp>
          <p:sp>
            <p:nvSpPr>
              <p:cNvPr id="168" name="Freeform 3">
                <a:extLst>
                  <a:ext uri="{FF2B5EF4-FFF2-40B4-BE49-F238E27FC236}">
                    <a16:creationId xmlns="" xmlns:a16="http://schemas.microsoft.com/office/drawing/2014/main" id="{6C21C748-81B6-485B-B37A-A35FF2AEBCF8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7378854" y="1535970"/>
                <a:ext cx="558954" cy="252094"/>
              </a:xfrm>
              <a:custGeom>
                <a:avLst/>
                <a:gdLst>
                  <a:gd name="T0" fmla="*/ 2147483647 w 448"/>
                  <a:gd name="T1" fmla="*/ 2147483647 h 208"/>
                  <a:gd name="T2" fmla="*/ 2147483647 w 448"/>
                  <a:gd name="T3" fmla="*/ 2147483647 h 208"/>
                  <a:gd name="T4" fmla="*/ 2147483647 w 448"/>
                  <a:gd name="T5" fmla="*/ 2147483647 h 208"/>
                  <a:gd name="T6" fmla="*/ 2147483647 w 448"/>
                  <a:gd name="T7" fmla="*/ 2147483647 h 208"/>
                  <a:gd name="T8" fmla="*/ 2147483647 w 448"/>
                  <a:gd name="T9" fmla="*/ 2147483647 h 208"/>
                  <a:gd name="T10" fmla="*/ 2147483647 w 448"/>
                  <a:gd name="T11" fmla="*/ 2147483647 h 208"/>
                  <a:gd name="T12" fmla="*/ 2147483647 w 448"/>
                  <a:gd name="T13" fmla="*/ 2147483647 h 208"/>
                  <a:gd name="T14" fmla="*/ 2147483647 w 448"/>
                  <a:gd name="T15" fmla="*/ 2147483647 h 208"/>
                  <a:gd name="T16" fmla="*/ 2147483647 w 448"/>
                  <a:gd name="T17" fmla="*/ 2147483647 h 208"/>
                  <a:gd name="T18" fmla="*/ 2147483647 w 448"/>
                  <a:gd name="T19" fmla="*/ 2147483647 h 208"/>
                  <a:gd name="T20" fmla="*/ 2147483647 w 448"/>
                  <a:gd name="T21" fmla="*/ 2147483647 h 208"/>
                  <a:gd name="T22" fmla="*/ 2147483647 w 448"/>
                  <a:gd name="T23" fmla="*/ 2147483647 h 208"/>
                  <a:gd name="T24" fmla="*/ 2147483647 w 448"/>
                  <a:gd name="T25" fmla="*/ 2147483647 h 208"/>
                  <a:gd name="T26" fmla="*/ 2147483647 w 448"/>
                  <a:gd name="T27" fmla="*/ 2147483647 h 208"/>
                  <a:gd name="T28" fmla="*/ 2147483647 w 448"/>
                  <a:gd name="T29" fmla="*/ 2147483647 h 208"/>
                  <a:gd name="T30" fmla="*/ 2147483647 w 448"/>
                  <a:gd name="T31" fmla="*/ 2147483647 h 208"/>
                  <a:gd name="T32" fmla="*/ 2147483647 w 448"/>
                  <a:gd name="T33" fmla="*/ 2147483647 h 208"/>
                  <a:gd name="T34" fmla="*/ 2147483647 w 448"/>
                  <a:gd name="T35" fmla="*/ 2147483647 h 208"/>
                  <a:gd name="T36" fmla="*/ 2147483647 w 448"/>
                  <a:gd name="T37" fmla="*/ 2147483647 h 208"/>
                  <a:gd name="T38" fmla="*/ 2147483647 w 448"/>
                  <a:gd name="T39" fmla="*/ 2147483647 h 208"/>
                  <a:gd name="T40" fmla="*/ 2147483647 w 448"/>
                  <a:gd name="T41" fmla="*/ 2147483647 h 208"/>
                  <a:gd name="T42" fmla="*/ 2147483647 w 448"/>
                  <a:gd name="T43" fmla="*/ 2147483647 h 208"/>
                  <a:gd name="T44" fmla="*/ 2147483647 w 448"/>
                  <a:gd name="T45" fmla="*/ 2147483647 h 208"/>
                  <a:gd name="T46" fmla="*/ 2147483647 w 448"/>
                  <a:gd name="T47" fmla="*/ 2147483647 h 208"/>
                  <a:gd name="T48" fmla="*/ 2147483647 w 448"/>
                  <a:gd name="T49" fmla="*/ 2147483647 h 208"/>
                  <a:gd name="T50" fmla="*/ 2147483647 w 448"/>
                  <a:gd name="T51" fmla="*/ 2147483647 h 208"/>
                  <a:gd name="T52" fmla="*/ 2147483647 w 448"/>
                  <a:gd name="T53" fmla="*/ 2147483647 h 208"/>
                  <a:gd name="T54" fmla="*/ 2147483647 w 448"/>
                  <a:gd name="T55" fmla="*/ 2147483647 h 208"/>
                  <a:gd name="T56" fmla="*/ 2147483647 w 448"/>
                  <a:gd name="T57" fmla="*/ 2147483647 h 208"/>
                  <a:gd name="T58" fmla="*/ 2147483647 w 448"/>
                  <a:gd name="T59" fmla="*/ 2147483647 h 208"/>
                  <a:gd name="T60" fmla="*/ 2147483647 w 448"/>
                  <a:gd name="T61" fmla="*/ 2147483647 h 208"/>
                  <a:gd name="T62" fmla="*/ 2147483647 w 448"/>
                  <a:gd name="T63" fmla="*/ 2147483647 h 208"/>
                  <a:gd name="T64" fmla="*/ 2147483647 w 448"/>
                  <a:gd name="T65" fmla="*/ 2147483647 h 208"/>
                  <a:gd name="T66" fmla="*/ 2147483647 w 448"/>
                  <a:gd name="T67" fmla="*/ 2147483647 h 208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448"/>
                  <a:gd name="T103" fmla="*/ 0 h 208"/>
                  <a:gd name="T104" fmla="*/ 448 w 448"/>
                  <a:gd name="T105" fmla="*/ 208 h 208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448" h="208">
                    <a:moveTo>
                      <a:pt x="447" y="114"/>
                    </a:moveTo>
                    <a:cubicBezTo>
                      <a:pt x="446" y="110"/>
                      <a:pt x="442" y="107"/>
                      <a:pt x="437" y="108"/>
                    </a:cubicBezTo>
                    <a:cubicBezTo>
                      <a:pt x="433" y="109"/>
                      <a:pt x="431" y="114"/>
                      <a:pt x="432" y="118"/>
                    </a:cubicBezTo>
                    <a:cubicBezTo>
                      <a:pt x="432" y="120"/>
                      <a:pt x="432" y="122"/>
                      <a:pt x="432" y="125"/>
                    </a:cubicBezTo>
                    <a:cubicBezTo>
                      <a:pt x="432" y="142"/>
                      <a:pt x="427" y="154"/>
                      <a:pt x="423" y="161"/>
                    </a:cubicBezTo>
                    <a:cubicBezTo>
                      <a:pt x="420" y="164"/>
                      <a:pt x="418" y="167"/>
                      <a:pt x="416" y="169"/>
                    </a:cubicBezTo>
                    <a:cubicBezTo>
                      <a:pt x="416" y="169"/>
                      <a:pt x="416" y="169"/>
                      <a:pt x="416" y="169"/>
                    </a:cubicBezTo>
                    <a:cubicBezTo>
                      <a:pt x="413" y="169"/>
                      <a:pt x="410" y="169"/>
                      <a:pt x="408" y="169"/>
                    </a:cubicBezTo>
                    <a:cubicBezTo>
                      <a:pt x="408" y="167"/>
                      <a:pt x="408" y="165"/>
                      <a:pt x="408" y="163"/>
                    </a:cubicBezTo>
                    <a:cubicBezTo>
                      <a:pt x="408" y="139"/>
                      <a:pt x="388" y="119"/>
                      <a:pt x="363" y="119"/>
                    </a:cubicBezTo>
                    <a:cubicBezTo>
                      <a:pt x="339" y="119"/>
                      <a:pt x="319" y="139"/>
                      <a:pt x="319" y="163"/>
                    </a:cubicBezTo>
                    <a:cubicBezTo>
                      <a:pt x="319" y="165"/>
                      <a:pt x="319" y="167"/>
                      <a:pt x="319" y="169"/>
                    </a:cubicBezTo>
                    <a:cubicBezTo>
                      <a:pt x="266" y="169"/>
                      <a:pt x="197" y="169"/>
                      <a:pt x="140" y="169"/>
                    </a:cubicBezTo>
                    <a:cubicBezTo>
                      <a:pt x="141" y="167"/>
                      <a:pt x="141" y="165"/>
                      <a:pt x="141" y="163"/>
                    </a:cubicBezTo>
                    <a:cubicBezTo>
                      <a:pt x="141" y="139"/>
                      <a:pt x="121" y="119"/>
                      <a:pt x="96" y="119"/>
                    </a:cubicBezTo>
                    <a:cubicBezTo>
                      <a:pt x="71" y="119"/>
                      <a:pt x="52" y="139"/>
                      <a:pt x="51" y="163"/>
                    </a:cubicBezTo>
                    <a:cubicBezTo>
                      <a:pt x="51" y="165"/>
                      <a:pt x="52" y="167"/>
                      <a:pt x="52" y="169"/>
                    </a:cubicBezTo>
                    <a:cubicBezTo>
                      <a:pt x="40" y="169"/>
                      <a:pt x="32" y="169"/>
                      <a:pt x="29" y="169"/>
                    </a:cubicBezTo>
                    <a:cubicBezTo>
                      <a:pt x="23" y="169"/>
                      <a:pt x="21" y="167"/>
                      <a:pt x="19" y="163"/>
                    </a:cubicBezTo>
                    <a:cubicBezTo>
                      <a:pt x="17" y="159"/>
                      <a:pt x="16" y="152"/>
                      <a:pt x="16" y="147"/>
                    </a:cubicBezTo>
                    <a:cubicBezTo>
                      <a:pt x="16" y="136"/>
                      <a:pt x="21" y="126"/>
                      <a:pt x="30" y="118"/>
                    </a:cubicBezTo>
                    <a:cubicBezTo>
                      <a:pt x="44" y="105"/>
                      <a:pt x="67" y="96"/>
                      <a:pt x="85" y="90"/>
                    </a:cubicBezTo>
                    <a:cubicBezTo>
                      <a:pt x="95" y="87"/>
                      <a:pt x="103" y="85"/>
                      <a:pt x="109" y="84"/>
                    </a:cubicBezTo>
                    <a:cubicBezTo>
                      <a:pt x="114" y="83"/>
                      <a:pt x="117" y="82"/>
                      <a:pt x="119" y="82"/>
                    </a:cubicBezTo>
                    <a:cubicBezTo>
                      <a:pt x="384" y="82"/>
                      <a:pt x="384" y="82"/>
                      <a:pt x="384" y="82"/>
                    </a:cubicBezTo>
                    <a:cubicBezTo>
                      <a:pt x="385" y="82"/>
                      <a:pt x="386" y="82"/>
                      <a:pt x="386" y="83"/>
                    </a:cubicBezTo>
                    <a:cubicBezTo>
                      <a:pt x="392" y="84"/>
                      <a:pt x="406" y="89"/>
                      <a:pt x="417" y="97"/>
                    </a:cubicBezTo>
                    <a:cubicBezTo>
                      <a:pt x="420" y="100"/>
                      <a:pt x="425" y="99"/>
                      <a:pt x="428" y="96"/>
                    </a:cubicBezTo>
                    <a:cubicBezTo>
                      <a:pt x="430" y="92"/>
                      <a:pt x="430" y="87"/>
                      <a:pt x="426" y="84"/>
                    </a:cubicBezTo>
                    <a:cubicBezTo>
                      <a:pt x="412" y="74"/>
                      <a:pt x="397" y="69"/>
                      <a:pt x="390" y="67"/>
                    </a:cubicBezTo>
                    <a:cubicBezTo>
                      <a:pt x="380" y="55"/>
                      <a:pt x="333" y="0"/>
                      <a:pt x="248" y="0"/>
                    </a:cubicBezTo>
                    <a:cubicBezTo>
                      <a:pt x="165" y="0"/>
                      <a:pt x="123" y="53"/>
                      <a:pt x="113" y="67"/>
                    </a:cubicBezTo>
                    <a:cubicBezTo>
                      <a:pt x="105" y="68"/>
                      <a:pt x="82" y="73"/>
                      <a:pt x="60" y="82"/>
                    </a:cubicBezTo>
                    <a:cubicBezTo>
                      <a:pt x="46" y="88"/>
                      <a:pt x="31" y="96"/>
                      <a:pt x="20" y="106"/>
                    </a:cubicBezTo>
                    <a:cubicBezTo>
                      <a:pt x="8" y="116"/>
                      <a:pt x="0" y="130"/>
                      <a:pt x="0" y="147"/>
                    </a:cubicBezTo>
                    <a:cubicBezTo>
                      <a:pt x="0" y="153"/>
                      <a:pt x="1" y="162"/>
                      <a:pt x="5" y="170"/>
                    </a:cubicBezTo>
                    <a:cubicBezTo>
                      <a:pt x="8" y="178"/>
                      <a:pt x="17" y="185"/>
                      <a:pt x="29" y="185"/>
                    </a:cubicBezTo>
                    <a:cubicBezTo>
                      <a:pt x="29" y="185"/>
                      <a:pt x="29" y="185"/>
                      <a:pt x="29" y="185"/>
                    </a:cubicBezTo>
                    <a:cubicBezTo>
                      <a:pt x="32" y="185"/>
                      <a:pt x="42" y="185"/>
                      <a:pt x="57" y="185"/>
                    </a:cubicBezTo>
                    <a:cubicBezTo>
                      <a:pt x="65" y="199"/>
                      <a:pt x="79" y="208"/>
                      <a:pt x="96" y="208"/>
                    </a:cubicBezTo>
                    <a:cubicBezTo>
                      <a:pt x="113" y="208"/>
                      <a:pt x="127" y="199"/>
                      <a:pt x="135" y="185"/>
                    </a:cubicBezTo>
                    <a:cubicBezTo>
                      <a:pt x="195" y="185"/>
                      <a:pt x="269" y="185"/>
                      <a:pt x="324" y="185"/>
                    </a:cubicBezTo>
                    <a:cubicBezTo>
                      <a:pt x="332" y="199"/>
                      <a:pt x="347" y="208"/>
                      <a:pt x="363" y="208"/>
                    </a:cubicBezTo>
                    <a:cubicBezTo>
                      <a:pt x="380" y="208"/>
                      <a:pt x="395" y="199"/>
                      <a:pt x="402" y="185"/>
                    </a:cubicBezTo>
                    <a:cubicBezTo>
                      <a:pt x="402" y="185"/>
                      <a:pt x="402" y="185"/>
                      <a:pt x="402" y="185"/>
                    </a:cubicBezTo>
                    <a:cubicBezTo>
                      <a:pt x="405" y="185"/>
                      <a:pt x="419" y="185"/>
                      <a:pt x="419" y="185"/>
                    </a:cubicBezTo>
                    <a:cubicBezTo>
                      <a:pt x="420" y="185"/>
                      <a:pt x="422" y="185"/>
                      <a:pt x="423" y="184"/>
                    </a:cubicBezTo>
                    <a:cubicBezTo>
                      <a:pt x="424" y="183"/>
                      <a:pt x="448" y="166"/>
                      <a:pt x="448" y="125"/>
                    </a:cubicBezTo>
                    <a:cubicBezTo>
                      <a:pt x="448" y="121"/>
                      <a:pt x="448" y="117"/>
                      <a:pt x="447" y="114"/>
                    </a:cubicBezTo>
                    <a:close/>
                    <a:moveTo>
                      <a:pt x="368" y="66"/>
                    </a:moveTo>
                    <a:cubicBezTo>
                      <a:pt x="256" y="66"/>
                      <a:pt x="256" y="66"/>
                      <a:pt x="256" y="66"/>
                    </a:cubicBezTo>
                    <a:cubicBezTo>
                      <a:pt x="256" y="16"/>
                      <a:pt x="256" y="16"/>
                      <a:pt x="256" y="16"/>
                    </a:cubicBezTo>
                    <a:cubicBezTo>
                      <a:pt x="296" y="18"/>
                      <a:pt x="326" y="32"/>
                      <a:pt x="346" y="47"/>
                    </a:cubicBezTo>
                    <a:cubicBezTo>
                      <a:pt x="355" y="54"/>
                      <a:pt x="363" y="61"/>
                      <a:pt x="368" y="66"/>
                    </a:cubicBezTo>
                    <a:close/>
                    <a:moveTo>
                      <a:pt x="240" y="16"/>
                    </a:moveTo>
                    <a:cubicBezTo>
                      <a:pt x="240" y="66"/>
                      <a:pt x="240" y="66"/>
                      <a:pt x="240" y="66"/>
                    </a:cubicBezTo>
                    <a:cubicBezTo>
                      <a:pt x="134" y="66"/>
                      <a:pt x="134" y="66"/>
                      <a:pt x="134" y="66"/>
                    </a:cubicBezTo>
                    <a:cubicBezTo>
                      <a:pt x="149" y="49"/>
                      <a:pt x="183" y="18"/>
                      <a:pt x="240" y="16"/>
                    </a:cubicBezTo>
                    <a:close/>
                    <a:moveTo>
                      <a:pt x="96" y="192"/>
                    </a:moveTo>
                    <a:cubicBezTo>
                      <a:pt x="80" y="192"/>
                      <a:pt x="68" y="179"/>
                      <a:pt x="67" y="163"/>
                    </a:cubicBezTo>
                    <a:cubicBezTo>
                      <a:pt x="68" y="148"/>
                      <a:pt x="80" y="135"/>
                      <a:pt x="96" y="135"/>
                    </a:cubicBezTo>
                    <a:cubicBezTo>
                      <a:pt x="112" y="135"/>
                      <a:pt x="125" y="148"/>
                      <a:pt x="125" y="163"/>
                    </a:cubicBezTo>
                    <a:cubicBezTo>
                      <a:pt x="125" y="179"/>
                      <a:pt x="112" y="192"/>
                      <a:pt x="96" y="192"/>
                    </a:cubicBezTo>
                    <a:close/>
                    <a:moveTo>
                      <a:pt x="363" y="192"/>
                    </a:moveTo>
                    <a:cubicBezTo>
                      <a:pt x="347" y="192"/>
                      <a:pt x="335" y="179"/>
                      <a:pt x="335" y="163"/>
                    </a:cubicBezTo>
                    <a:cubicBezTo>
                      <a:pt x="335" y="148"/>
                      <a:pt x="347" y="135"/>
                      <a:pt x="363" y="135"/>
                    </a:cubicBezTo>
                    <a:cubicBezTo>
                      <a:pt x="379" y="135"/>
                      <a:pt x="392" y="148"/>
                      <a:pt x="392" y="163"/>
                    </a:cubicBezTo>
                    <a:cubicBezTo>
                      <a:pt x="392" y="179"/>
                      <a:pt x="379" y="192"/>
                      <a:pt x="363" y="19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8532" tIns="34268" rIns="68532" bIns="34268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9" name="AutoShape 16">
                <a:extLst>
                  <a:ext uri="{FF2B5EF4-FFF2-40B4-BE49-F238E27FC236}">
                    <a16:creationId xmlns="" xmlns:a16="http://schemas.microsoft.com/office/drawing/2014/main" id="{A0139FE1-CB4A-4B9A-9F1D-AC812391274A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9362809" y="1411488"/>
                <a:ext cx="315440" cy="266580"/>
              </a:xfrm>
              <a:custGeom>
                <a:avLst/>
                <a:gdLst>
                  <a:gd name="T0" fmla="*/ 2147483647 w 372"/>
                  <a:gd name="T1" fmla="*/ 2147483647 h 330"/>
                  <a:gd name="T2" fmla="*/ 2147483647 w 372"/>
                  <a:gd name="T3" fmla="*/ 2147483647 h 330"/>
                  <a:gd name="T4" fmla="*/ 2147483647 w 372"/>
                  <a:gd name="T5" fmla="*/ 2147483647 h 330"/>
                  <a:gd name="T6" fmla="*/ 2147483647 w 372"/>
                  <a:gd name="T7" fmla="*/ 2147483647 h 330"/>
                  <a:gd name="T8" fmla="*/ 2147483647 w 372"/>
                  <a:gd name="T9" fmla="*/ 2147483647 h 330"/>
                  <a:gd name="T10" fmla="*/ 2147483647 w 372"/>
                  <a:gd name="T11" fmla="*/ 2147483647 h 330"/>
                  <a:gd name="T12" fmla="*/ 2147483647 w 372"/>
                  <a:gd name="T13" fmla="*/ 2147483647 h 330"/>
                  <a:gd name="T14" fmla="*/ 2147483647 w 372"/>
                  <a:gd name="T15" fmla="*/ 2147483647 h 330"/>
                  <a:gd name="T16" fmla="*/ 2147483647 w 372"/>
                  <a:gd name="T17" fmla="*/ 2147483647 h 330"/>
                  <a:gd name="T18" fmla="*/ 2147483647 w 372"/>
                  <a:gd name="T19" fmla="*/ 2147483647 h 330"/>
                  <a:gd name="T20" fmla="*/ 2147483647 w 372"/>
                  <a:gd name="T21" fmla="*/ 2147483647 h 330"/>
                  <a:gd name="T22" fmla="*/ 2147483647 w 372"/>
                  <a:gd name="T23" fmla="*/ 2147483647 h 330"/>
                  <a:gd name="T24" fmla="*/ 2147483647 w 372"/>
                  <a:gd name="T25" fmla="*/ 2147483647 h 330"/>
                  <a:gd name="T26" fmla="*/ 2147483647 w 372"/>
                  <a:gd name="T27" fmla="*/ 2147483647 h 330"/>
                  <a:gd name="T28" fmla="*/ 2147483647 w 372"/>
                  <a:gd name="T29" fmla="*/ 2147483647 h 330"/>
                  <a:gd name="T30" fmla="*/ 2147483647 w 372"/>
                  <a:gd name="T31" fmla="*/ 2147483647 h 330"/>
                  <a:gd name="T32" fmla="*/ 2147483647 w 372"/>
                  <a:gd name="T33" fmla="*/ 2147483647 h 330"/>
                  <a:gd name="T34" fmla="*/ 2147483647 w 372"/>
                  <a:gd name="T35" fmla="*/ 2147483647 h 330"/>
                  <a:gd name="T36" fmla="*/ 2147483647 w 372"/>
                  <a:gd name="T37" fmla="*/ 2147483647 h 330"/>
                  <a:gd name="T38" fmla="*/ 2147483647 w 372"/>
                  <a:gd name="T39" fmla="*/ 2147483647 h 330"/>
                  <a:gd name="T40" fmla="*/ 2147483647 w 372"/>
                  <a:gd name="T41" fmla="*/ 2147483647 h 330"/>
                  <a:gd name="T42" fmla="*/ 2147483647 w 372"/>
                  <a:gd name="T43" fmla="*/ 2147483647 h 330"/>
                  <a:gd name="T44" fmla="*/ 2147483647 w 372"/>
                  <a:gd name="T45" fmla="*/ 2147483647 h 330"/>
                  <a:gd name="T46" fmla="*/ 2147483647 w 372"/>
                  <a:gd name="T47" fmla="*/ 2147483647 h 330"/>
                  <a:gd name="T48" fmla="*/ 2147483647 w 372"/>
                  <a:gd name="T49" fmla="*/ 2147483647 h 330"/>
                  <a:gd name="T50" fmla="*/ 2147483647 w 372"/>
                  <a:gd name="T51" fmla="*/ 2147483647 h 330"/>
                  <a:gd name="T52" fmla="*/ 2147483647 w 372"/>
                  <a:gd name="T53" fmla="*/ 0 h 330"/>
                  <a:gd name="T54" fmla="*/ 2147483647 w 372"/>
                  <a:gd name="T55" fmla="*/ 2147483647 h 330"/>
                  <a:gd name="T56" fmla="*/ 2147483647 w 372"/>
                  <a:gd name="T57" fmla="*/ 2147483647 h 330"/>
                  <a:gd name="T58" fmla="*/ 2147483647 w 372"/>
                  <a:gd name="T59" fmla="*/ 2147483647 h 330"/>
                  <a:gd name="T60" fmla="*/ 2147483647 w 372"/>
                  <a:gd name="T61" fmla="*/ 2147483647 h 330"/>
                  <a:gd name="T62" fmla="*/ 2147483647 w 372"/>
                  <a:gd name="T63" fmla="*/ 2147483647 h 330"/>
                  <a:gd name="T64" fmla="*/ 2147483647 w 372"/>
                  <a:gd name="T65" fmla="*/ 2147483647 h 330"/>
                  <a:gd name="T66" fmla="*/ 2147483647 w 372"/>
                  <a:gd name="T67" fmla="*/ 2147483647 h 330"/>
                  <a:gd name="T68" fmla="*/ 2147483647 w 372"/>
                  <a:gd name="T69" fmla="*/ 2147483647 h 330"/>
                  <a:gd name="T70" fmla="*/ 2147483647 w 372"/>
                  <a:gd name="T71" fmla="*/ 2147483647 h 330"/>
                  <a:gd name="T72" fmla="*/ 2147483647 w 372"/>
                  <a:gd name="T73" fmla="*/ 2147483647 h 330"/>
                  <a:gd name="T74" fmla="*/ 2147483647 w 372"/>
                  <a:gd name="T75" fmla="*/ 2147483647 h 330"/>
                  <a:gd name="T76" fmla="*/ 2147483647 w 372"/>
                  <a:gd name="T77" fmla="*/ 2147483647 h 330"/>
                  <a:gd name="T78" fmla="*/ 2147483647 w 372"/>
                  <a:gd name="T79" fmla="*/ 2147483647 h 330"/>
                  <a:gd name="T80" fmla="*/ 2147483647 w 372"/>
                  <a:gd name="T81" fmla="*/ 2147483647 h 330"/>
                  <a:gd name="T82" fmla="*/ 2147483647 w 372"/>
                  <a:gd name="T83" fmla="*/ 2147483647 h 330"/>
                  <a:gd name="T84" fmla="*/ 2147483647 w 372"/>
                  <a:gd name="T85" fmla="*/ 2147483647 h 330"/>
                  <a:gd name="T86" fmla="*/ 2147483647 w 372"/>
                  <a:gd name="T87" fmla="*/ 2147483647 h 330"/>
                  <a:gd name="T88" fmla="*/ 2147483647 w 372"/>
                  <a:gd name="T89" fmla="*/ 2147483647 h 330"/>
                  <a:gd name="T90" fmla="*/ 2147483647 w 372"/>
                  <a:gd name="T91" fmla="*/ 2147483647 h 330"/>
                  <a:gd name="T92" fmla="*/ 2147483647 w 372"/>
                  <a:gd name="T93" fmla="*/ 2147483647 h 330"/>
                  <a:gd name="T94" fmla="*/ 2147483647 w 372"/>
                  <a:gd name="T95" fmla="*/ 2147483647 h 330"/>
                  <a:gd name="T96" fmla="*/ 2147483647 w 372"/>
                  <a:gd name="T97" fmla="*/ 2147483647 h 330"/>
                  <a:gd name="T98" fmla="*/ 2147483647 w 372"/>
                  <a:gd name="T99" fmla="*/ 2147483647 h 330"/>
                  <a:gd name="T100" fmla="*/ 2147483647 w 372"/>
                  <a:gd name="T101" fmla="*/ 2147483647 h 330"/>
                  <a:gd name="T102" fmla="*/ 2147483647 w 372"/>
                  <a:gd name="T103" fmla="*/ 2147483647 h 330"/>
                  <a:gd name="T104" fmla="*/ 2147483647 w 372"/>
                  <a:gd name="T105" fmla="*/ 2147483647 h 330"/>
                  <a:gd name="T106" fmla="*/ 2147483647 w 372"/>
                  <a:gd name="T107" fmla="*/ 2147483647 h 330"/>
                  <a:gd name="T108" fmla="*/ 2147483647 w 372"/>
                  <a:gd name="T109" fmla="*/ 2147483647 h 330"/>
                  <a:gd name="T110" fmla="*/ 2147483647 w 372"/>
                  <a:gd name="T111" fmla="*/ 2147483647 h 330"/>
                  <a:gd name="T112" fmla="*/ 2147483647 w 372"/>
                  <a:gd name="T113" fmla="*/ 2147483647 h 330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72"/>
                  <a:gd name="T172" fmla="*/ 0 h 330"/>
                  <a:gd name="T173" fmla="*/ 372 w 372"/>
                  <a:gd name="T174" fmla="*/ 330 h 330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72" h="330">
                    <a:moveTo>
                      <a:pt x="307" y="33"/>
                    </a:moveTo>
                    <a:cubicBezTo>
                      <a:pt x="305" y="29"/>
                      <a:pt x="300" y="27"/>
                      <a:pt x="296" y="29"/>
                    </a:cubicBezTo>
                    <a:cubicBezTo>
                      <a:pt x="108" y="116"/>
                      <a:pt x="108" y="116"/>
                      <a:pt x="108" y="116"/>
                    </a:cubicBezTo>
                    <a:cubicBezTo>
                      <a:pt x="104" y="118"/>
                      <a:pt x="103" y="123"/>
                      <a:pt x="104" y="127"/>
                    </a:cubicBezTo>
                    <a:cubicBezTo>
                      <a:pt x="106" y="130"/>
                      <a:pt x="109" y="131"/>
                      <a:pt x="112" y="131"/>
                    </a:cubicBezTo>
                    <a:cubicBezTo>
                      <a:pt x="113" y="131"/>
                      <a:pt x="114" y="131"/>
                      <a:pt x="115" y="130"/>
                    </a:cubicBezTo>
                    <a:cubicBezTo>
                      <a:pt x="303" y="44"/>
                      <a:pt x="303" y="44"/>
                      <a:pt x="303" y="44"/>
                    </a:cubicBezTo>
                    <a:cubicBezTo>
                      <a:pt x="307" y="42"/>
                      <a:pt x="309" y="37"/>
                      <a:pt x="307" y="33"/>
                    </a:cubicBezTo>
                    <a:close/>
                    <a:moveTo>
                      <a:pt x="144" y="209"/>
                    </a:moveTo>
                    <a:cubicBezTo>
                      <a:pt x="146" y="209"/>
                      <a:pt x="147" y="209"/>
                      <a:pt x="148" y="208"/>
                    </a:cubicBezTo>
                    <a:cubicBezTo>
                      <a:pt x="336" y="121"/>
                      <a:pt x="336" y="121"/>
                      <a:pt x="336" y="121"/>
                    </a:cubicBezTo>
                    <a:cubicBezTo>
                      <a:pt x="340" y="120"/>
                      <a:pt x="341" y="115"/>
                      <a:pt x="340" y="111"/>
                    </a:cubicBezTo>
                    <a:cubicBezTo>
                      <a:pt x="338" y="107"/>
                      <a:pt x="333" y="105"/>
                      <a:pt x="329" y="107"/>
                    </a:cubicBezTo>
                    <a:cubicBezTo>
                      <a:pt x="141" y="194"/>
                      <a:pt x="141" y="194"/>
                      <a:pt x="141" y="194"/>
                    </a:cubicBezTo>
                    <a:cubicBezTo>
                      <a:pt x="137" y="196"/>
                      <a:pt x="135" y="200"/>
                      <a:pt x="137" y="204"/>
                    </a:cubicBezTo>
                    <a:cubicBezTo>
                      <a:pt x="139" y="207"/>
                      <a:pt x="141" y="209"/>
                      <a:pt x="144" y="209"/>
                    </a:cubicBezTo>
                    <a:close/>
                    <a:moveTo>
                      <a:pt x="360" y="284"/>
                    </a:moveTo>
                    <a:cubicBezTo>
                      <a:pt x="265" y="284"/>
                      <a:pt x="265" y="284"/>
                      <a:pt x="265" y="284"/>
                    </a:cubicBezTo>
                    <a:cubicBezTo>
                      <a:pt x="262" y="284"/>
                      <a:pt x="260" y="284"/>
                      <a:pt x="258" y="284"/>
                    </a:cubicBezTo>
                    <a:cubicBezTo>
                      <a:pt x="256" y="283"/>
                      <a:pt x="257" y="283"/>
                      <a:pt x="257" y="283"/>
                    </a:cubicBezTo>
                    <a:cubicBezTo>
                      <a:pt x="257" y="283"/>
                      <a:pt x="256" y="281"/>
                      <a:pt x="256" y="277"/>
                    </a:cubicBezTo>
                    <a:cubicBezTo>
                      <a:pt x="256" y="251"/>
                      <a:pt x="256" y="251"/>
                      <a:pt x="256" y="251"/>
                    </a:cubicBezTo>
                    <a:cubicBezTo>
                      <a:pt x="269" y="251"/>
                      <a:pt x="269" y="251"/>
                      <a:pt x="269" y="251"/>
                    </a:cubicBezTo>
                    <a:cubicBezTo>
                      <a:pt x="271" y="251"/>
                      <a:pt x="273" y="250"/>
                      <a:pt x="275" y="249"/>
                    </a:cubicBezTo>
                    <a:cubicBezTo>
                      <a:pt x="276" y="248"/>
                      <a:pt x="277" y="245"/>
                      <a:pt x="277" y="243"/>
                    </a:cubicBezTo>
                    <a:cubicBezTo>
                      <a:pt x="277" y="177"/>
                      <a:pt x="277" y="177"/>
                      <a:pt x="277" y="177"/>
                    </a:cubicBezTo>
                    <a:cubicBezTo>
                      <a:pt x="355" y="141"/>
                      <a:pt x="355" y="141"/>
                      <a:pt x="355" y="141"/>
                    </a:cubicBezTo>
                    <a:cubicBezTo>
                      <a:pt x="366" y="136"/>
                      <a:pt x="372" y="125"/>
                      <a:pt x="372" y="114"/>
                    </a:cubicBezTo>
                    <a:cubicBezTo>
                      <a:pt x="372" y="110"/>
                      <a:pt x="371" y="106"/>
                      <a:pt x="370" y="102"/>
                    </a:cubicBezTo>
                    <a:cubicBezTo>
                      <a:pt x="345" y="49"/>
                      <a:pt x="345" y="49"/>
                      <a:pt x="345" y="49"/>
                    </a:cubicBezTo>
                    <a:cubicBezTo>
                      <a:pt x="343" y="45"/>
                      <a:pt x="339" y="43"/>
                      <a:pt x="335" y="45"/>
                    </a:cubicBezTo>
                    <a:cubicBezTo>
                      <a:pt x="331" y="47"/>
                      <a:pt x="329" y="52"/>
                      <a:pt x="331" y="56"/>
                    </a:cubicBezTo>
                    <a:cubicBezTo>
                      <a:pt x="331" y="56"/>
                      <a:pt x="331" y="56"/>
                      <a:pt x="331" y="56"/>
                    </a:cubicBezTo>
                    <a:cubicBezTo>
                      <a:pt x="355" y="109"/>
                      <a:pt x="355" y="109"/>
                      <a:pt x="355" y="109"/>
                    </a:cubicBezTo>
                    <a:cubicBezTo>
                      <a:pt x="356" y="111"/>
                      <a:pt x="356" y="113"/>
                      <a:pt x="356" y="114"/>
                    </a:cubicBezTo>
                    <a:cubicBezTo>
                      <a:pt x="356" y="119"/>
                      <a:pt x="354" y="124"/>
                      <a:pt x="349" y="126"/>
                    </a:cubicBezTo>
                    <a:cubicBezTo>
                      <a:pt x="147" y="220"/>
                      <a:pt x="147" y="220"/>
                      <a:pt x="147" y="220"/>
                    </a:cubicBezTo>
                    <a:cubicBezTo>
                      <a:pt x="145" y="221"/>
                      <a:pt x="143" y="221"/>
                      <a:pt x="141" y="221"/>
                    </a:cubicBezTo>
                    <a:cubicBezTo>
                      <a:pt x="136" y="221"/>
                      <a:pt x="131" y="218"/>
                      <a:pt x="129" y="213"/>
                    </a:cubicBezTo>
                    <a:cubicBezTo>
                      <a:pt x="122" y="198"/>
                      <a:pt x="122" y="198"/>
                      <a:pt x="122" y="198"/>
                    </a:cubicBezTo>
                    <a:cubicBezTo>
                      <a:pt x="122" y="198"/>
                      <a:pt x="122" y="198"/>
                      <a:pt x="122" y="198"/>
                    </a:cubicBezTo>
                    <a:cubicBezTo>
                      <a:pt x="122" y="198"/>
                      <a:pt x="122" y="198"/>
                      <a:pt x="122" y="198"/>
                    </a:cubicBezTo>
                    <a:cubicBezTo>
                      <a:pt x="96" y="141"/>
                      <a:pt x="96" y="141"/>
                      <a:pt x="96" y="141"/>
                    </a:cubicBezTo>
                    <a:cubicBezTo>
                      <a:pt x="96" y="141"/>
                      <a:pt x="96" y="141"/>
                      <a:pt x="96" y="141"/>
                    </a:cubicBezTo>
                    <a:cubicBezTo>
                      <a:pt x="96" y="141"/>
                      <a:pt x="96" y="141"/>
                      <a:pt x="96" y="141"/>
                    </a:cubicBezTo>
                    <a:cubicBezTo>
                      <a:pt x="90" y="128"/>
                      <a:pt x="90" y="128"/>
                      <a:pt x="90" y="128"/>
                    </a:cubicBezTo>
                    <a:cubicBezTo>
                      <a:pt x="89" y="126"/>
                      <a:pt x="89" y="124"/>
                      <a:pt x="89" y="123"/>
                    </a:cubicBezTo>
                    <a:cubicBezTo>
                      <a:pt x="89" y="118"/>
                      <a:pt x="91" y="113"/>
                      <a:pt x="96" y="111"/>
                    </a:cubicBezTo>
                    <a:cubicBezTo>
                      <a:pt x="298" y="17"/>
                      <a:pt x="298" y="17"/>
                      <a:pt x="298" y="17"/>
                    </a:cubicBezTo>
                    <a:cubicBezTo>
                      <a:pt x="300" y="16"/>
                      <a:pt x="302" y="16"/>
                      <a:pt x="304" y="16"/>
                    </a:cubicBezTo>
                    <a:cubicBezTo>
                      <a:pt x="309" y="16"/>
                      <a:pt x="314" y="19"/>
                      <a:pt x="316" y="24"/>
                    </a:cubicBezTo>
                    <a:cubicBezTo>
                      <a:pt x="318" y="28"/>
                      <a:pt x="322" y="29"/>
                      <a:pt x="326" y="28"/>
                    </a:cubicBezTo>
                    <a:cubicBezTo>
                      <a:pt x="330" y="26"/>
                      <a:pt x="332" y="21"/>
                      <a:pt x="330" y="17"/>
                    </a:cubicBezTo>
                    <a:cubicBezTo>
                      <a:pt x="325" y="6"/>
                      <a:pt x="315" y="0"/>
                      <a:pt x="304" y="0"/>
                    </a:cubicBezTo>
                    <a:cubicBezTo>
                      <a:pt x="300" y="0"/>
                      <a:pt x="296" y="1"/>
                      <a:pt x="292" y="3"/>
                    </a:cubicBezTo>
                    <a:cubicBezTo>
                      <a:pt x="90" y="96"/>
                      <a:pt x="90" y="96"/>
                      <a:pt x="90" y="96"/>
                    </a:cubicBezTo>
                    <a:cubicBezTo>
                      <a:pt x="79" y="101"/>
                      <a:pt x="73" y="112"/>
                      <a:pt x="73" y="123"/>
                    </a:cubicBezTo>
                    <a:cubicBezTo>
                      <a:pt x="73" y="127"/>
                      <a:pt x="73" y="131"/>
                      <a:pt x="75" y="135"/>
                    </a:cubicBezTo>
                    <a:cubicBezTo>
                      <a:pt x="78" y="140"/>
                      <a:pt x="78" y="140"/>
                      <a:pt x="78" y="140"/>
                    </a:cubicBezTo>
                    <a:cubicBezTo>
                      <a:pt x="67" y="146"/>
                      <a:pt x="67" y="146"/>
                      <a:pt x="67" y="146"/>
                    </a:cubicBezTo>
                    <a:cubicBezTo>
                      <a:pt x="42" y="136"/>
                      <a:pt x="42" y="136"/>
                      <a:pt x="42" y="136"/>
                    </a:cubicBezTo>
                    <a:cubicBezTo>
                      <a:pt x="40" y="135"/>
                      <a:pt x="37" y="136"/>
                      <a:pt x="36" y="136"/>
                    </a:cubicBezTo>
                    <a:cubicBezTo>
                      <a:pt x="6" y="150"/>
                      <a:pt x="6" y="150"/>
                      <a:pt x="6" y="150"/>
                    </a:cubicBezTo>
                    <a:cubicBezTo>
                      <a:pt x="2" y="152"/>
                      <a:pt x="0" y="157"/>
                      <a:pt x="2" y="161"/>
                    </a:cubicBezTo>
                    <a:cubicBezTo>
                      <a:pt x="46" y="257"/>
                      <a:pt x="46" y="257"/>
                      <a:pt x="46" y="257"/>
                    </a:cubicBezTo>
                    <a:cubicBezTo>
                      <a:pt x="47" y="259"/>
                      <a:pt x="49" y="260"/>
                      <a:pt x="51" y="261"/>
                    </a:cubicBezTo>
                    <a:cubicBezTo>
                      <a:pt x="52" y="261"/>
                      <a:pt x="53" y="262"/>
                      <a:pt x="54" y="262"/>
                    </a:cubicBezTo>
                    <a:cubicBezTo>
                      <a:pt x="55" y="262"/>
                      <a:pt x="56" y="261"/>
                      <a:pt x="57" y="261"/>
                    </a:cubicBezTo>
                    <a:cubicBezTo>
                      <a:pt x="87" y="247"/>
                      <a:pt x="87" y="247"/>
                      <a:pt x="87" y="247"/>
                    </a:cubicBezTo>
                    <a:cubicBezTo>
                      <a:pt x="89" y="246"/>
                      <a:pt x="90" y="245"/>
                      <a:pt x="91" y="243"/>
                    </a:cubicBezTo>
                    <a:cubicBezTo>
                      <a:pt x="100" y="217"/>
                      <a:pt x="100" y="217"/>
                      <a:pt x="100" y="217"/>
                    </a:cubicBezTo>
                    <a:cubicBezTo>
                      <a:pt x="111" y="212"/>
                      <a:pt x="111" y="212"/>
                      <a:pt x="111" y="212"/>
                    </a:cubicBezTo>
                    <a:cubicBezTo>
                      <a:pt x="115" y="220"/>
                      <a:pt x="115" y="220"/>
                      <a:pt x="115" y="220"/>
                    </a:cubicBezTo>
                    <a:cubicBezTo>
                      <a:pt x="120" y="231"/>
                      <a:pt x="130" y="237"/>
                      <a:pt x="141" y="237"/>
                    </a:cubicBezTo>
                    <a:cubicBezTo>
                      <a:pt x="145" y="237"/>
                      <a:pt x="149" y="236"/>
                      <a:pt x="153" y="234"/>
                    </a:cubicBezTo>
                    <a:cubicBezTo>
                      <a:pt x="184" y="220"/>
                      <a:pt x="184" y="220"/>
                      <a:pt x="184" y="220"/>
                    </a:cubicBezTo>
                    <a:cubicBezTo>
                      <a:pt x="184" y="243"/>
                      <a:pt x="184" y="243"/>
                      <a:pt x="184" y="243"/>
                    </a:cubicBezTo>
                    <a:cubicBezTo>
                      <a:pt x="184" y="245"/>
                      <a:pt x="185" y="248"/>
                      <a:pt x="187" y="249"/>
                    </a:cubicBezTo>
                    <a:cubicBezTo>
                      <a:pt x="188" y="250"/>
                      <a:pt x="190" y="251"/>
                      <a:pt x="192" y="251"/>
                    </a:cubicBezTo>
                    <a:cubicBezTo>
                      <a:pt x="207" y="251"/>
                      <a:pt x="207" y="251"/>
                      <a:pt x="207" y="251"/>
                    </a:cubicBezTo>
                    <a:cubicBezTo>
                      <a:pt x="207" y="300"/>
                      <a:pt x="207" y="300"/>
                      <a:pt x="207" y="300"/>
                    </a:cubicBezTo>
                    <a:cubicBezTo>
                      <a:pt x="207" y="317"/>
                      <a:pt x="221" y="330"/>
                      <a:pt x="237" y="330"/>
                    </a:cubicBezTo>
                    <a:cubicBezTo>
                      <a:pt x="360" y="330"/>
                      <a:pt x="360" y="330"/>
                      <a:pt x="360" y="330"/>
                    </a:cubicBezTo>
                    <a:cubicBezTo>
                      <a:pt x="362" y="330"/>
                      <a:pt x="364" y="330"/>
                      <a:pt x="365" y="328"/>
                    </a:cubicBezTo>
                    <a:cubicBezTo>
                      <a:pt x="367" y="326"/>
                      <a:pt x="368" y="324"/>
                      <a:pt x="368" y="322"/>
                    </a:cubicBezTo>
                    <a:cubicBezTo>
                      <a:pt x="368" y="292"/>
                      <a:pt x="368" y="292"/>
                      <a:pt x="368" y="292"/>
                    </a:cubicBezTo>
                    <a:cubicBezTo>
                      <a:pt x="368" y="290"/>
                      <a:pt x="367" y="288"/>
                      <a:pt x="365" y="286"/>
                    </a:cubicBezTo>
                    <a:cubicBezTo>
                      <a:pt x="364" y="285"/>
                      <a:pt x="362" y="284"/>
                      <a:pt x="360" y="284"/>
                    </a:cubicBezTo>
                    <a:close/>
                    <a:moveTo>
                      <a:pt x="90" y="204"/>
                    </a:moveTo>
                    <a:cubicBezTo>
                      <a:pt x="88" y="205"/>
                      <a:pt x="87" y="207"/>
                      <a:pt x="86" y="209"/>
                    </a:cubicBezTo>
                    <a:cubicBezTo>
                      <a:pt x="77" y="234"/>
                      <a:pt x="77" y="234"/>
                      <a:pt x="77" y="234"/>
                    </a:cubicBezTo>
                    <a:cubicBezTo>
                      <a:pt x="58" y="243"/>
                      <a:pt x="58" y="243"/>
                      <a:pt x="58" y="243"/>
                    </a:cubicBezTo>
                    <a:cubicBezTo>
                      <a:pt x="20" y="161"/>
                      <a:pt x="20" y="161"/>
                      <a:pt x="20" y="161"/>
                    </a:cubicBezTo>
                    <a:cubicBezTo>
                      <a:pt x="39" y="152"/>
                      <a:pt x="39" y="152"/>
                      <a:pt x="39" y="152"/>
                    </a:cubicBezTo>
                    <a:cubicBezTo>
                      <a:pt x="65" y="162"/>
                      <a:pt x="65" y="162"/>
                      <a:pt x="65" y="162"/>
                    </a:cubicBezTo>
                    <a:cubicBezTo>
                      <a:pt x="67" y="162"/>
                      <a:pt x="69" y="162"/>
                      <a:pt x="71" y="161"/>
                    </a:cubicBezTo>
                    <a:cubicBezTo>
                      <a:pt x="85" y="155"/>
                      <a:pt x="85" y="155"/>
                      <a:pt x="85" y="155"/>
                    </a:cubicBezTo>
                    <a:cubicBezTo>
                      <a:pt x="104" y="198"/>
                      <a:pt x="104" y="198"/>
                      <a:pt x="104" y="198"/>
                    </a:cubicBezTo>
                    <a:lnTo>
                      <a:pt x="90" y="204"/>
                    </a:lnTo>
                    <a:close/>
                    <a:moveTo>
                      <a:pt x="200" y="235"/>
                    </a:moveTo>
                    <a:cubicBezTo>
                      <a:pt x="200" y="213"/>
                      <a:pt x="200" y="213"/>
                      <a:pt x="200" y="213"/>
                    </a:cubicBezTo>
                    <a:cubicBezTo>
                      <a:pt x="261" y="184"/>
                      <a:pt x="261" y="184"/>
                      <a:pt x="261" y="184"/>
                    </a:cubicBezTo>
                    <a:cubicBezTo>
                      <a:pt x="261" y="235"/>
                      <a:pt x="261" y="235"/>
                      <a:pt x="261" y="235"/>
                    </a:cubicBezTo>
                    <a:lnTo>
                      <a:pt x="200" y="235"/>
                    </a:lnTo>
                    <a:close/>
                    <a:moveTo>
                      <a:pt x="352" y="314"/>
                    </a:moveTo>
                    <a:cubicBezTo>
                      <a:pt x="237" y="314"/>
                      <a:pt x="237" y="314"/>
                      <a:pt x="237" y="314"/>
                    </a:cubicBezTo>
                    <a:cubicBezTo>
                      <a:pt x="229" y="314"/>
                      <a:pt x="223" y="308"/>
                      <a:pt x="223" y="300"/>
                    </a:cubicBezTo>
                    <a:cubicBezTo>
                      <a:pt x="223" y="251"/>
                      <a:pt x="223" y="251"/>
                      <a:pt x="223" y="251"/>
                    </a:cubicBezTo>
                    <a:cubicBezTo>
                      <a:pt x="240" y="251"/>
                      <a:pt x="240" y="251"/>
                      <a:pt x="240" y="251"/>
                    </a:cubicBezTo>
                    <a:cubicBezTo>
                      <a:pt x="240" y="277"/>
                      <a:pt x="240" y="277"/>
                      <a:pt x="240" y="277"/>
                    </a:cubicBezTo>
                    <a:cubicBezTo>
                      <a:pt x="240" y="283"/>
                      <a:pt x="241" y="290"/>
                      <a:pt x="246" y="295"/>
                    </a:cubicBezTo>
                    <a:cubicBezTo>
                      <a:pt x="252" y="300"/>
                      <a:pt x="258" y="300"/>
                      <a:pt x="265" y="300"/>
                    </a:cubicBezTo>
                    <a:cubicBezTo>
                      <a:pt x="352" y="300"/>
                      <a:pt x="352" y="300"/>
                      <a:pt x="352" y="300"/>
                    </a:cubicBezTo>
                    <a:lnTo>
                      <a:pt x="352" y="3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8532" tIns="34268" rIns="68532" bIns="34268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0" name="Freeform 3">
                <a:extLst>
                  <a:ext uri="{FF2B5EF4-FFF2-40B4-BE49-F238E27FC236}">
                    <a16:creationId xmlns="" xmlns:a16="http://schemas.microsoft.com/office/drawing/2014/main" id="{89A49E99-4982-441E-AA48-368D4376554A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9094848" y="1701089"/>
                <a:ext cx="320253" cy="267701"/>
              </a:xfrm>
              <a:custGeom>
                <a:avLst/>
                <a:gdLst>
                  <a:gd name="T0" fmla="*/ 2147483647 w 417"/>
                  <a:gd name="T1" fmla="*/ 2147483647 h 428"/>
                  <a:gd name="T2" fmla="*/ 2147483647 w 417"/>
                  <a:gd name="T3" fmla="*/ 2147483647 h 428"/>
                  <a:gd name="T4" fmla="*/ 2147483647 w 417"/>
                  <a:gd name="T5" fmla="*/ 2147483647 h 428"/>
                  <a:gd name="T6" fmla="*/ 2147483647 w 417"/>
                  <a:gd name="T7" fmla="*/ 2147483647 h 428"/>
                  <a:gd name="T8" fmla="*/ 2147483647 w 417"/>
                  <a:gd name="T9" fmla="*/ 2147483647 h 428"/>
                  <a:gd name="T10" fmla="*/ 2147483647 w 417"/>
                  <a:gd name="T11" fmla="*/ 2147483647 h 428"/>
                  <a:gd name="T12" fmla="*/ 2147483647 w 417"/>
                  <a:gd name="T13" fmla="*/ 2147483647 h 428"/>
                  <a:gd name="T14" fmla="*/ 2147483647 w 417"/>
                  <a:gd name="T15" fmla="*/ 0 h 428"/>
                  <a:gd name="T16" fmla="*/ 2147483647 w 417"/>
                  <a:gd name="T17" fmla="*/ 2147483647 h 428"/>
                  <a:gd name="T18" fmla="*/ 2147483647 w 417"/>
                  <a:gd name="T19" fmla="*/ 2147483647 h 428"/>
                  <a:gd name="T20" fmla="*/ 2147483647 w 417"/>
                  <a:gd name="T21" fmla="*/ 2147483647 h 428"/>
                  <a:gd name="T22" fmla="*/ 2147483647 w 417"/>
                  <a:gd name="T23" fmla="*/ 2147483647 h 428"/>
                  <a:gd name="T24" fmla="*/ 2147483647 w 417"/>
                  <a:gd name="T25" fmla="*/ 2147483647 h 428"/>
                  <a:gd name="T26" fmla="*/ 0 w 417"/>
                  <a:gd name="T27" fmla="*/ 2147483647 h 428"/>
                  <a:gd name="T28" fmla="*/ 2147483647 w 417"/>
                  <a:gd name="T29" fmla="*/ 2147483647 h 428"/>
                  <a:gd name="T30" fmla="*/ 2147483647 w 417"/>
                  <a:gd name="T31" fmla="*/ 2147483647 h 428"/>
                  <a:gd name="T32" fmla="*/ 2147483647 w 417"/>
                  <a:gd name="T33" fmla="*/ 2147483647 h 428"/>
                  <a:gd name="T34" fmla="*/ 2147483647 w 417"/>
                  <a:gd name="T35" fmla="*/ 2147483647 h 428"/>
                  <a:gd name="T36" fmla="*/ 2147483647 w 417"/>
                  <a:gd name="T37" fmla="*/ 2147483647 h 428"/>
                  <a:gd name="T38" fmla="*/ 2147483647 w 417"/>
                  <a:gd name="T39" fmla="*/ 2147483647 h 428"/>
                  <a:gd name="T40" fmla="*/ 2147483647 w 417"/>
                  <a:gd name="T41" fmla="*/ 2147483647 h 428"/>
                  <a:gd name="T42" fmla="*/ 2147483647 w 417"/>
                  <a:gd name="T43" fmla="*/ 2147483647 h 428"/>
                  <a:gd name="T44" fmla="*/ 2147483647 w 417"/>
                  <a:gd name="T45" fmla="*/ 2147483647 h 428"/>
                  <a:gd name="T46" fmla="*/ 2147483647 w 417"/>
                  <a:gd name="T47" fmla="*/ 2147483647 h 428"/>
                  <a:gd name="T48" fmla="*/ 2147483647 w 417"/>
                  <a:gd name="T49" fmla="*/ 2147483647 h 428"/>
                  <a:gd name="T50" fmla="*/ 2147483647 w 417"/>
                  <a:gd name="T51" fmla="*/ 2147483647 h 428"/>
                  <a:gd name="T52" fmla="*/ 2147483647 w 417"/>
                  <a:gd name="T53" fmla="*/ 2147483647 h 428"/>
                  <a:gd name="T54" fmla="*/ 2147483647 w 417"/>
                  <a:gd name="T55" fmla="*/ 2147483647 h 428"/>
                  <a:gd name="T56" fmla="*/ 2147483647 w 417"/>
                  <a:gd name="T57" fmla="*/ 2147483647 h 428"/>
                  <a:gd name="T58" fmla="*/ 2147483647 w 417"/>
                  <a:gd name="T59" fmla="*/ 2147483647 h 428"/>
                  <a:gd name="T60" fmla="*/ 2147483647 w 417"/>
                  <a:gd name="T61" fmla="*/ 2147483647 h 428"/>
                  <a:gd name="T62" fmla="*/ 2147483647 w 417"/>
                  <a:gd name="T63" fmla="*/ 2147483647 h 428"/>
                  <a:gd name="T64" fmla="*/ 2147483647 w 417"/>
                  <a:gd name="T65" fmla="*/ 2147483647 h 428"/>
                  <a:gd name="T66" fmla="*/ 2147483647 w 417"/>
                  <a:gd name="T67" fmla="*/ 2147483647 h 428"/>
                  <a:gd name="T68" fmla="*/ 2147483647 w 417"/>
                  <a:gd name="T69" fmla="*/ 2147483647 h 428"/>
                  <a:gd name="T70" fmla="*/ 2147483647 w 417"/>
                  <a:gd name="T71" fmla="*/ 2147483647 h 428"/>
                  <a:gd name="T72" fmla="*/ 2147483647 w 417"/>
                  <a:gd name="T73" fmla="*/ 2147483647 h 428"/>
                  <a:gd name="T74" fmla="*/ 2147483647 w 417"/>
                  <a:gd name="T75" fmla="*/ 2147483647 h 428"/>
                  <a:gd name="T76" fmla="*/ 2147483647 w 417"/>
                  <a:gd name="T77" fmla="*/ 2147483647 h 428"/>
                  <a:gd name="T78" fmla="*/ 2147483647 w 417"/>
                  <a:gd name="T79" fmla="*/ 2147483647 h 428"/>
                  <a:gd name="T80" fmla="*/ 2147483647 w 417"/>
                  <a:gd name="T81" fmla="*/ 2147483647 h 428"/>
                  <a:gd name="T82" fmla="*/ 2147483647 w 417"/>
                  <a:gd name="T83" fmla="*/ 2147483647 h 428"/>
                  <a:gd name="T84" fmla="*/ 2147483647 w 417"/>
                  <a:gd name="T85" fmla="*/ 2147483647 h 428"/>
                  <a:gd name="T86" fmla="*/ 2147483647 w 417"/>
                  <a:gd name="T87" fmla="*/ 2147483647 h 428"/>
                  <a:gd name="T88" fmla="*/ 2147483647 w 417"/>
                  <a:gd name="T89" fmla="*/ 2147483647 h 428"/>
                  <a:gd name="T90" fmla="*/ 2147483647 w 417"/>
                  <a:gd name="T91" fmla="*/ 2147483647 h 428"/>
                  <a:gd name="T92" fmla="*/ 2147483647 w 417"/>
                  <a:gd name="T93" fmla="*/ 2147483647 h 428"/>
                  <a:gd name="T94" fmla="*/ 2147483647 w 417"/>
                  <a:gd name="T95" fmla="*/ 2147483647 h 428"/>
                  <a:gd name="T96" fmla="*/ 2147483647 w 417"/>
                  <a:gd name="T97" fmla="*/ 2147483647 h 428"/>
                  <a:gd name="T98" fmla="*/ 2147483647 w 417"/>
                  <a:gd name="T99" fmla="*/ 2147483647 h 428"/>
                  <a:gd name="T100" fmla="*/ 2147483647 w 417"/>
                  <a:gd name="T101" fmla="*/ 2147483647 h 428"/>
                  <a:gd name="T102" fmla="*/ 2147483647 w 417"/>
                  <a:gd name="T103" fmla="*/ 2147483647 h 428"/>
                  <a:gd name="T104" fmla="*/ 2147483647 w 417"/>
                  <a:gd name="T105" fmla="*/ 2147483647 h 428"/>
                  <a:gd name="T106" fmla="*/ 2147483647 w 417"/>
                  <a:gd name="T107" fmla="*/ 2147483647 h 428"/>
                  <a:gd name="T108" fmla="*/ 2147483647 w 417"/>
                  <a:gd name="T109" fmla="*/ 2147483647 h 428"/>
                  <a:gd name="T110" fmla="*/ 2147483647 w 417"/>
                  <a:gd name="T111" fmla="*/ 2147483647 h 428"/>
                  <a:gd name="T112" fmla="*/ 2147483647 w 417"/>
                  <a:gd name="T113" fmla="*/ 2147483647 h 428"/>
                  <a:gd name="T114" fmla="*/ 2147483647 w 417"/>
                  <a:gd name="T115" fmla="*/ 2147483647 h 428"/>
                  <a:gd name="T116" fmla="*/ 2147483647 w 417"/>
                  <a:gd name="T117" fmla="*/ 2147483647 h 428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17"/>
                  <a:gd name="T178" fmla="*/ 0 h 428"/>
                  <a:gd name="T179" fmla="*/ 417 w 417"/>
                  <a:gd name="T180" fmla="*/ 428 h 428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17" h="428">
                    <a:moveTo>
                      <a:pt x="413" y="87"/>
                    </a:moveTo>
                    <a:cubicBezTo>
                      <a:pt x="415" y="80"/>
                      <a:pt x="417" y="73"/>
                      <a:pt x="417" y="66"/>
                    </a:cubicBezTo>
                    <a:cubicBezTo>
                      <a:pt x="417" y="54"/>
                      <a:pt x="413" y="42"/>
                      <a:pt x="407" y="32"/>
                    </a:cubicBezTo>
                    <a:cubicBezTo>
                      <a:pt x="405" y="28"/>
                      <a:pt x="400" y="27"/>
                      <a:pt x="396" y="29"/>
                    </a:cubicBezTo>
                    <a:cubicBezTo>
                      <a:pt x="392" y="31"/>
                      <a:pt x="391" y="36"/>
                      <a:pt x="393" y="40"/>
                    </a:cubicBezTo>
                    <a:cubicBezTo>
                      <a:pt x="393" y="40"/>
                      <a:pt x="393" y="40"/>
                      <a:pt x="393" y="40"/>
                    </a:cubicBezTo>
                    <a:cubicBezTo>
                      <a:pt x="401" y="52"/>
                      <a:pt x="403" y="67"/>
                      <a:pt x="398" y="82"/>
                    </a:cubicBezTo>
                    <a:cubicBezTo>
                      <a:pt x="389" y="108"/>
                      <a:pt x="361" y="122"/>
                      <a:pt x="335" y="114"/>
                    </a:cubicBezTo>
                    <a:cubicBezTo>
                      <a:pt x="309" y="105"/>
                      <a:pt x="294" y="77"/>
                      <a:pt x="303" y="50"/>
                    </a:cubicBezTo>
                    <a:cubicBezTo>
                      <a:pt x="312" y="24"/>
                      <a:pt x="340" y="10"/>
                      <a:pt x="366" y="19"/>
                    </a:cubicBezTo>
                    <a:cubicBezTo>
                      <a:pt x="369" y="19"/>
                      <a:pt x="371" y="21"/>
                      <a:pt x="374" y="22"/>
                    </a:cubicBezTo>
                    <a:cubicBezTo>
                      <a:pt x="374" y="22"/>
                      <a:pt x="374" y="22"/>
                      <a:pt x="374" y="22"/>
                    </a:cubicBezTo>
                    <a:cubicBezTo>
                      <a:pt x="378" y="24"/>
                      <a:pt x="383" y="22"/>
                      <a:pt x="385" y="18"/>
                    </a:cubicBezTo>
                    <a:cubicBezTo>
                      <a:pt x="387" y="15"/>
                      <a:pt x="385" y="10"/>
                      <a:pt x="381" y="8"/>
                    </a:cubicBezTo>
                    <a:cubicBezTo>
                      <a:pt x="378" y="6"/>
                      <a:pt x="375" y="5"/>
                      <a:pt x="371" y="3"/>
                    </a:cubicBezTo>
                    <a:cubicBezTo>
                      <a:pt x="364" y="1"/>
                      <a:pt x="357" y="0"/>
                      <a:pt x="351" y="0"/>
                    </a:cubicBezTo>
                    <a:cubicBezTo>
                      <a:pt x="323" y="0"/>
                      <a:pt x="297" y="18"/>
                      <a:pt x="288" y="45"/>
                    </a:cubicBezTo>
                    <a:cubicBezTo>
                      <a:pt x="287" y="49"/>
                      <a:pt x="286" y="52"/>
                      <a:pt x="286" y="55"/>
                    </a:cubicBezTo>
                    <a:cubicBezTo>
                      <a:pt x="189" y="81"/>
                      <a:pt x="189" y="81"/>
                      <a:pt x="189" y="81"/>
                    </a:cubicBezTo>
                    <a:cubicBezTo>
                      <a:pt x="180" y="74"/>
                      <a:pt x="170" y="70"/>
                      <a:pt x="159" y="70"/>
                    </a:cubicBezTo>
                    <a:cubicBezTo>
                      <a:pt x="154" y="70"/>
                      <a:pt x="150" y="71"/>
                      <a:pt x="146" y="72"/>
                    </a:cubicBezTo>
                    <a:cubicBezTo>
                      <a:pt x="143" y="73"/>
                      <a:pt x="141" y="74"/>
                      <a:pt x="139" y="75"/>
                    </a:cubicBezTo>
                    <a:cubicBezTo>
                      <a:pt x="115" y="59"/>
                      <a:pt x="115" y="59"/>
                      <a:pt x="115" y="59"/>
                    </a:cubicBezTo>
                    <a:cubicBezTo>
                      <a:pt x="113" y="58"/>
                      <a:pt x="112" y="58"/>
                      <a:pt x="110" y="58"/>
                    </a:cubicBezTo>
                    <a:cubicBezTo>
                      <a:pt x="47" y="58"/>
                      <a:pt x="47" y="58"/>
                      <a:pt x="47" y="58"/>
                    </a:cubicBezTo>
                    <a:cubicBezTo>
                      <a:pt x="45" y="58"/>
                      <a:pt x="43" y="59"/>
                      <a:pt x="41" y="60"/>
                    </a:cubicBezTo>
                    <a:cubicBezTo>
                      <a:pt x="2" y="99"/>
                      <a:pt x="2" y="99"/>
                      <a:pt x="2" y="99"/>
                    </a:cubicBezTo>
                    <a:cubicBezTo>
                      <a:pt x="1" y="100"/>
                      <a:pt x="0" y="102"/>
                      <a:pt x="0" y="105"/>
                    </a:cubicBezTo>
                    <a:cubicBezTo>
                      <a:pt x="0" y="107"/>
                      <a:pt x="1" y="109"/>
                      <a:pt x="3" y="110"/>
                    </a:cubicBezTo>
                    <a:cubicBezTo>
                      <a:pt x="22" y="127"/>
                      <a:pt x="22" y="127"/>
                      <a:pt x="22" y="127"/>
                    </a:cubicBezTo>
                    <a:cubicBezTo>
                      <a:pt x="25" y="130"/>
                      <a:pt x="30" y="130"/>
                      <a:pt x="33" y="127"/>
                    </a:cubicBezTo>
                    <a:cubicBezTo>
                      <a:pt x="53" y="107"/>
                      <a:pt x="53" y="107"/>
                      <a:pt x="53" y="107"/>
                    </a:cubicBezTo>
                    <a:cubicBezTo>
                      <a:pt x="84" y="108"/>
                      <a:pt x="84" y="108"/>
                      <a:pt x="84" y="108"/>
                    </a:cubicBezTo>
                    <a:cubicBezTo>
                      <a:pt x="111" y="131"/>
                      <a:pt x="111" y="131"/>
                      <a:pt x="111" y="131"/>
                    </a:cubicBezTo>
                    <a:cubicBezTo>
                      <a:pt x="100" y="165"/>
                      <a:pt x="100" y="165"/>
                      <a:pt x="100" y="165"/>
                    </a:cubicBezTo>
                    <a:cubicBezTo>
                      <a:pt x="73" y="182"/>
                      <a:pt x="73" y="182"/>
                      <a:pt x="73" y="182"/>
                    </a:cubicBezTo>
                    <a:cubicBezTo>
                      <a:pt x="46" y="175"/>
                      <a:pt x="46" y="175"/>
                      <a:pt x="46" y="175"/>
                    </a:cubicBezTo>
                    <a:cubicBezTo>
                      <a:pt x="42" y="174"/>
                      <a:pt x="38" y="176"/>
                      <a:pt x="37" y="180"/>
                    </a:cubicBezTo>
                    <a:cubicBezTo>
                      <a:pt x="28" y="204"/>
                      <a:pt x="28" y="204"/>
                      <a:pt x="28" y="204"/>
                    </a:cubicBezTo>
                    <a:cubicBezTo>
                      <a:pt x="28" y="206"/>
                      <a:pt x="28" y="209"/>
                      <a:pt x="29" y="211"/>
                    </a:cubicBezTo>
                    <a:cubicBezTo>
                      <a:pt x="30" y="213"/>
                      <a:pt x="32" y="214"/>
                      <a:pt x="34" y="215"/>
                    </a:cubicBezTo>
                    <a:cubicBezTo>
                      <a:pt x="87" y="228"/>
                      <a:pt x="87" y="228"/>
                      <a:pt x="87" y="228"/>
                    </a:cubicBezTo>
                    <a:cubicBezTo>
                      <a:pt x="87" y="228"/>
                      <a:pt x="88" y="228"/>
                      <a:pt x="89" y="228"/>
                    </a:cubicBezTo>
                    <a:cubicBezTo>
                      <a:pt x="90" y="228"/>
                      <a:pt x="92" y="228"/>
                      <a:pt x="93" y="227"/>
                    </a:cubicBezTo>
                    <a:cubicBezTo>
                      <a:pt x="148" y="195"/>
                      <a:pt x="148" y="195"/>
                      <a:pt x="148" y="195"/>
                    </a:cubicBezTo>
                    <a:cubicBezTo>
                      <a:pt x="149" y="194"/>
                      <a:pt x="150" y="193"/>
                      <a:pt x="151" y="192"/>
                    </a:cubicBezTo>
                    <a:cubicBezTo>
                      <a:pt x="164" y="166"/>
                      <a:pt x="164" y="166"/>
                      <a:pt x="164" y="166"/>
                    </a:cubicBezTo>
                    <a:cubicBezTo>
                      <a:pt x="166" y="166"/>
                      <a:pt x="169" y="165"/>
                      <a:pt x="171" y="165"/>
                    </a:cubicBezTo>
                    <a:cubicBezTo>
                      <a:pt x="187" y="161"/>
                      <a:pt x="198" y="149"/>
                      <a:pt x="203" y="135"/>
                    </a:cubicBezTo>
                    <a:cubicBezTo>
                      <a:pt x="295" y="110"/>
                      <a:pt x="295" y="110"/>
                      <a:pt x="295" y="110"/>
                    </a:cubicBezTo>
                    <a:cubicBezTo>
                      <a:pt x="257" y="224"/>
                      <a:pt x="257" y="224"/>
                      <a:pt x="257" y="224"/>
                    </a:cubicBezTo>
                    <a:cubicBezTo>
                      <a:pt x="231" y="232"/>
                      <a:pt x="212" y="257"/>
                      <a:pt x="212" y="286"/>
                    </a:cubicBezTo>
                    <a:cubicBezTo>
                      <a:pt x="212" y="294"/>
                      <a:pt x="213" y="302"/>
                      <a:pt x="216" y="309"/>
                    </a:cubicBezTo>
                    <a:cubicBezTo>
                      <a:pt x="151" y="415"/>
                      <a:pt x="151" y="415"/>
                      <a:pt x="151" y="415"/>
                    </a:cubicBezTo>
                    <a:cubicBezTo>
                      <a:pt x="150" y="418"/>
                      <a:pt x="150" y="421"/>
                      <a:pt x="151" y="423"/>
                    </a:cubicBezTo>
                    <a:cubicBezTo>
                      <a:pt x="153" y="426"/>
                      <a:pt x="155" y="428"/>
                      <a:pt x="158" y="428"/>
                    </a:cubicBezTo>
                    <a:cubicBezTo>
                      <a:pt x="402" y="428"/>
                      <a:pt x="402" y="428"/>
                      <a:pt x="402" y="428"/>
                    </a:cubicBezTo>
                    <a:cubicBezTo>
                      <a:pt x="405" y="428"/>
                      <a:pt x="408" y="426"/>
                      <a:pt x="409" y="423"/>
                    </a:cubicBezTo>
                    <a:cubicBezTo>
                      <a:pt x="411" y="421"/>
                      <a:pt x="411" y="418"/>
                      <a:pt x="409" y="415"/>
                    </a:cubicBezTo>
                    <a:cubicBezTo>
                      <a:pt x="341" y="304"/>
                      <a:pt x="341" y="304"/>
                      <a:pt x="341" y="304"/>
                    </a:cubicBezTo>
                    <a:cubicBezTo>
                      <a:pt x="343" y="298"/>
                      <a:pt x="344" y="292"/>
                      <a:pt x="344" y="286"/>
                    </a:cubicBezTo>
                    <a:cubicBezTo>
                      <a:pt x="344" y="272"/>
                      <a:pt x="339" y="259"/>
                      <a:pt x="331" y="248"/>
                    </a:cubicBezTo>
                    <a:cubicBezTo>
                      <a:pt x="371" y="129"/>
                      <a:pt x="371" y="129"/>
                      <a:pt x="371" y="129"/>
                    </a:cubicBezTo>
                    <a:cubicBezTo>
                      <a:pt x="390" y="123"/>
                      <a:pt x="406" y="108"/>
                      <a:pt x="413" y="87"/>
                    </a:cubicBezTo>
                    <a:close/>
                    <a:moveTo>
                      <a:pt x="93" y="95"/>
                    </a:moveTo>
                    <a:cubicBezTo>
                      <a:pt x="91" y="93"/>
                      <a:pt x="90" y="93"/>
                      <a:pt x="88" y="93"/>
                    </a:cubicBezTo>
                    <a:cubicBezTo>
                      <a:pt x="50" y="91"/>
                      <a:pt x="50" y="91"/>
                      <a:pt x="50" y="91"/>
                    </a:cubicBezTo>
                    <a:cubicBezTo>
                      <a:pt x="50" y="91"/>
                      <a:pt x="49" y="91"/>
                      <a:pt x="49" y="91"/>
                    </a:cubicBezTo>
                    <a:cubicBezTo>
                      <a:pt x="47" y="91"/>
                      <a:pt x="45" y="92"/>
                      <a:pt x="44" y="93"/>
                    </a:cubicBezTo>
                    <a:cubicBezTo>
                      <a:pt x="27" y="110"/>
                      <a:pt x="27" y="110"/>
                      <a:pt x="27" y="110"/>
                    </a:cubicBezTo>
                    <a:cubicBezTo>
                      <a:pt x="20" y="104"/>
                      <a:pt x="20" y="104"/>
                      <a:pt x="20" y="104"/>
                    </a:cubicBezTo>
                    <a:cubicBezTo>
                      <a:pt x="50" y="74"/>
                      <a:pt x="50" y="74"/>
                      <a:pt x="50" y="74"/>
                    </a:cubicBezTo>
                    <a:cubicBezTo>
                      <a:pt x="108" y="74"/>
                      <a:pt x="108" y="74"/>
                      <a:pt x="108" y="74"/>
                    </a:cubicBezTo>
                    <a:cubicBezTo>
                      <a:pt x="125" y="84"/>
                      <a:pt x="125" y="84"/>
                      <a:pt x="125" y="84"/>
                    </a:cubicBezTo>
                    <a:cubicBezTo>
                      <a:pt x="118" y="92"/>
                      <a:pt x="113" y="101"/>
                      <a:pt x="111" y="111"/>
                    </a:cubicBezTo>
                    <a:lnTo>
                      <a:pt x="93" y="95"/>
                    </a:lnTo>
                    <a:close/>
                    <a:moveTo>
                      <a:pt x="138" y="183"/>
                    </a:moveTo>
                    <a:cubicBezTo>
                      <a:pt x="88" y="212"/>
                      <a:pt x="88" y="212"/>
                      <a:pt x="88" y="212"/>
                    </a:cubicBezTo>
                    <a:cubicBezTo>
                      <a:pt x="46" y="201"/>
                      <a:pt x="46" y="201"/>
                      <a:pt x="46" y="201"/>
                    </a:cubicBezTo>
                    <a:cubicBezTo>
                      <a:pt x="49" y="192"/>
                      <a:pt x="49" y="192"/>
                      <a:pt x="49" y="192"/>
                    </a:cubicBezTo>
                    <a:cubicBezTo>
                      <a:pt x="72" y="198"/>
                      <a:pt x="72" y="198"/>
                      <a:pt x="72" y="198"/>
                    </a:cubicBezTo>
                    <a:cubicBezTo>
                      <a:pt x="74" y="199"/>
                      <a:pt x="77" y="199"/>
                      <a:pt x="79" y="197"/>
                    </a:cubicBezTo>
                    <a:cubicBezTo>
                      <a:pt x="111" y="177"/>
                      <a:pt x="111" y="177"/>
                      <a:pt x="111" y="177"/>
                    </a:cubicBezTo>
                    <a:cubicBezTo>
                      <a:pt x="112" y="176"/>
                      <a:pt x="113" y="174"/>
                      <a:pt x="114" y="173"/>
                    </a:cubicBezTo>
                    <a:cubicBezTo>
                      <a:pt x="122" y="149"/>
                      <a:pt x="122" y="149"/>
                      <a:pt x="122" y="149"/>
                    </a:cubicBezTo>
                    <a:cubicBezTo>
                      <a:pt x="128" y="157"/>
                      <a:pt x="137" y="162"/>
                      <a:pt x="147" y="165"/>
                    </a:cubicBezTo>
                    <a:lnTo>
                      <a:pt x="138" y="183"/>
                    </a:lnTo>
                    <a:close/>
                    <a:moveTo>
                      <a:pt x="167" y="149"/>
                    </a:moveTo>
                    <a:cubicBezTo>
                      <a:pt x="150" y="154"/>
                      <a:pt x="132" y="144"/>
                      <a:pt x="128" y="127"/>
                    </a:cubicBezTo>
                    <a:cubicBezTo>
                      <a:pt x="123" y="110"/>
                      <a:pt x="133" y="92"/>
                      <a:pt x="150" y="88"/>
                    </a:cubicBezTo>
                    <a:cubicBezTo>
                      <a:pt x="167" y="83"/>
                      <a:pt x="185" y="93"/>
                      <a:pt x="189" y="110"/>
                    </a:cubicBezTo>
                    <a:cubicBezTo>
                      <a:pt x="194" y="127"/>
                      <a:pt x="184" y="145"/>
                      <a:pt x="167" y="149"/>
                    </a:cubicBezTo>
                    <a:close/>
                    <a:moveTo>
                      <a:pt x="206" y="118"/>
                    </a:moveTo>
                    <a:cubicBezTo>
                      <a:pt x="206" y="114"/>
                      <a:pt x="206" y="110"/>
                      <a:pt x="205" y="106"/>
                    </a:cubicBezTo>
                    <a:cubicBezTo>
                      <a:pt x="205" y="106"/>
                      <a:pt x="205" y="106"/>
                      <a:pt x="205" y="106"/>
                    </a:cubicBezTo>
                    <a:cubicBezTo>
                      <a:pt x="204" y="102"/>
                      <a:pt x="202" y="98"/>
                      <a:pt x="200" y="95"/>
                    </a:cubicBezTo>
                    <a:cubicBezTo>
                      <a:pt x="285" y="72"/>
                      <a:pt x="285" y="72"/>
                      <a:pt x="285" y="72"/>
                    </a:cubicBezTo>
                    <a:cubicBezTo>
                      <a:pt x="285" y="80"/>
                      <a:pt x="288" y="88"/>
                      <a:pt x="291" y="95"/>
                    </a:cubicBezTo>
                    <a:lnTo>
                      <a:pt x="206" y="118"/>
                    </a:lnTo>
                    <a:close/>
                    <a:moveTo>
                      <a:pt x="278" y="236"/>
                    </a:moveTo>
                    <a:cubicBezTo>
                      <a:pt x="305" y="236"/>
                      <a:pt x="328" y="259"/>
                      <a:pt x="328" y="286"/>
                    </a:cubicBezTo>
                    <a:cubicBezTo>
                      <a:pt x="328" y="314"/>
                      <a:pt x="305" y="337"/>
                      <a:pt x="278" y="337"/>
                    </a:cubicBezTo>
                    <a:cubicBezTo>
                      <a:pt x="250" y="337"/>
                      <a:pt x="227" y="314"/>
                      <a:pt x="227" y="286"/>
                    </a:cubicBezTo>
                    <a:cubicBezTo>
                      <a:pt x="227" y="259"/>
                      <a:pt x="250" y="236"/>
                      <a:pt x="278" y="236"/>
                    </a:cubicBezTo>
                    <a:close/>
                    <a:moveTo>
                      <a:pt x="333" y="322"/>
                    </a:moveTo>
                    <a:cubicBezTo>
                      <a:pt x="388" y="412"/>
                      <a:pt x="388" y="412"/>
                      <a:pt x="388" y="412"/>
                    </a:cubicBezTo>
                    <a:cubicBezTo>
                      <a:pt x="172" y="412"/>
                      <a:pt x="172" y="412"/>
                      <a:pt x="172" y="412"/>
                    </a:cubicBezTo>
                    <a:cubicBezTo>
                      <a:pt x="225" y="326"/>
                      <a:pt x="225" y="326"/>
                      <a:pt x="225" y="326"/>
                    </a:cubicBezTo>
                    <a:cubicBezTo>
                      <a:pt x="237" y="342"/>
                      <a:pt x="256" y="352"/>
                      <a:pt x="278" y="352"/>
                    </a:cubicBezTo>
                    <a:cubicBezTo>
                      <a:pt x="301" y="352"/>
                      <a:pt x="322" y="340"/>
                      <a:pt x="333" y="322"/>
                    </a:cubicBezTo>
                    <a:close/>
                    <a:moveTo>
                      <a:pt x="319" y="235"/>
                    </a:moveTo>
                    <a:cubicBezTo>
                      <a:pt x="308" y="226"/>
                      <a:pt x="293" y="220"/>
                      <a:pt x="278" y="220"/>
                    </a:cubicBezTo>
                    <a:cubicBezTo>
                      <a:pt x="277" y="220"/>
                      <a:pt x="276" y="220"/>
                      <a:pt x="275" y="220"/>
                    </a:cubicBezTo>
                    <a:cubicBezTo>
                      <a:pt x="309" y="118"/>
                      <a:pt x="309" y="118"/>
                      <a:pt x="309" y="118"/>
                    </a:cubicBezTo>
                    <a:cubicBezTo>
                      <a:pt x="315" y="122"/>
                      <a:pt x="322" y="126"/>
                      <a:pt x="330" y="129"/>
                    </a:cubicBezTo>
                    <a:cubicBezTo>
                      <a:pt x="337" y="131"/>
                      <a:pt x="344" y="132"/>
                      <a:pt x="351" y="132"/>
                    </a:cubicBezTo>
                    <a:cubicBezTo>
                      <a:pt x="351" y="132"/>
                      <a:pt x="351" y="132"/>
                      <a:pt x="351" y="132"/>
                    </a:cubicBezTo>
                    <a:cubicBezTo>
                      <a:pt x="351" y="132"/>
                      <a:pt x="352" y="132"/>
                      <a:pt x="353" y="132"/>
                    </a:cubicBezTo>
                    <a:lnTo>
                      <a:pt x="319" y="23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8532" tIns="34268" rIns="68532" bIns="34268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1" name="Freeform 7">
                <a:extLst>
                  <a:ext uri="{FF2B5EF4-FFF2-40B4-BE49-F238E27FC236}">
                    <a16:creationId xmlns="" xmlns:a16="http://schemas.microsoft.com/office/drawing/2014/main" id="{B9B08DFF-D55A-4D18-8576-1151622B6784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9678249" y="1681085"/>
                <a:ext cx="307640" cy="307710"/>
              </a:xfrm>
              <a:custGeom>
                <a:avLst/>
                <a:gdLst>
                  <a:gd name="T0" fmla="*/ 2147483647 w 394"/>
                  <a:gd name="T1" fmla="*/ 2147483647 h 395"/>
                  <a:gd name="T2" fmla="*/ 2147483647 w 394"/>
                  <a:gd name="T3" fmla="*/ 2147483647 h 395"/>
                  <a:gd name="T4" fmla="*/ 2147483647 w 394"/>
                  <a:gd name="T5" fmla="*/ 2147483647 h 395"/>
                  <a:gd name="T6" fmla="*/ 2147483647 w 394"/>
                  <a:gd name="T7" fmla="*/ 2147483647 h 395"/>
                  <a:gd name="T8" fmla="*/ 2147483647 w 394"/>
                  <a:gd name="T9" fmla="*/ 0 h 395"/>
                  <a:gd name="T10" fmla="*/ 2147483647 w 394"/>
                  <a:gd name="T11" fmla="*/ 2147483647 h 395"/>
                  <a:gd name="T12" fmla="*/ 2147483647 w 394"/>
                  <a:gd name="T13" fmla="*/ 2147483647 h 395"/>
                  <a:gd name="T14" fmla="*/ 2147483647 w 394"/>
                  <a:gd name="T15" fmla="*/ 2147483647 h 395"/>
                  <a:gd name="T16" fmla="*/ 2147483647 w 394"/>
                  <a:gd name="T17" fmla="*/ 2147483647 h 395"/>
                  <a:gd name="T18" fmla="*/ 2147483647 w 394"/>
                  <a:gd name="T19" fmla="*/ 2147483647 h 395"/>
                  <a:gd name="T20" fmla="*/ 2147483647 w 394"/>
                  <a:gd name="T21" fmla="*/ 2147483647 h 395"/>
                  <a:gd name="T22" fmla="*/ 2147483647 w 394"/>
                  <a:gd name="T23" fmla="*/ 2147483647 h 395"/>
                  <a:gd name="T24" fmla="*/ 2147483647 w 394"/>
                  <a:gd name="T25" fmla="*/ 2147483647 h 395"/>
                  <a:gd name="T26" fmla="*/ 2147483647 w 394"/>
                  <a:gd name="T27" fmla="*/ 2147483647 h 395"/>
                  <a:gd name="T28" fmla="*/ 2147483647 w 394"/>
                  <a:gd name="T29" fmla="*/ 2147483647 h 395"/>
                  <a:gd name="T30" fmla="*/ 2147483647 w 394"/>
                  <a:gd name="T31" fmla="*/ 2147483647 h 395"/>
                  <a:gd name="T32" fmla="*/ 2147483647 w 394"/>
                  <a:gd name="T33" fmla="*/ 2147483647 h 395"/>
                  <a:gd name="T34" fmla="*/ 2147483647 w 394"/>
                  <a:gd name="T35" fmla="*/ 2147483647 h 395"/>
                  <a:gd name="T36" fmla="*/ 2147483647 w 394"/>
                  <a:gd name="T37" fmla="*/ 2147483647 h 395"/>
                  <a:gd name="T38" fmla="*/ 2147483647 w 394"/>
                  <a:gd name="T39" fmla="*/ 2147483647 h 395"/>
                  <a:gd name="T40" fmla="*/ 2147483647 w 394"/>
                  <a:gd name="T41" fmla="*/ 2147483647 h 395"/>
                  <a:gd name="T42" fmla="*/ 2147483647 w 394"/>
                  <a:gd name="T43" fmla="*/ 2147483647 h 395"/>
                  <a:gd name="T44" fmla="*/ 2147483647 w 394"/>
                  <a:gd name="T45" fmla="*/ 2147483647 h 395"/>
                  <a:gd name="T46" fmla="*/ 2147483647 w 394"/>
                  <a:gd name="T47" fmla="*/ 2147483647 h 395"/>
                  <a:gd name="T48" fmla="*/ 2147483647 w 394"/>
                  <a:gd name="T49" fmla="*/ 2147483647 h 395"/>
                  <a:gd name="T50" fmla="*/ 2147483647 w 394"/>
                  <a:gd name="T51" fmla="*/ 2147483647 h 395"/>
                  <a:gd name="T52" fmla="*/ 2147483647 w 394"/>
                  <a:gd name="T53" fmla="*/ 2147483647 h 395"/>
                  <a:gd name="T54" fmla="*/ 2147483647 w 394"/>
                  <a:gd name="T55" fmla="*/ 2147483647 h 395"/>
                  <a:gd name="T56" fmla="*/ 2147483647 w 394"/>
                  <a:gd name="T57" fmla="*/ 2147483647 h 395"/>
                  <a:gd name="T58" fmla="*/ 2147483647 w 394"/>
                  <a:gd name="T59" fmla="*/ 2147483647 h 395"/>
                  <a:gd name="T60" fmla="*/ 2147483647 w 394"/>
                  <a:gd name="T61" fmla="*/ 2147483647 h 395"/>
                  <a:gd name="T62" fmla="*/ 2147483647 w 394"/>
                  <a:gd name="T63" fmla="*/ 2147483647 h 395"/>
                  <a:gd name="T64" fmla="*/ 2147483647 w 394"/>
                  <a:gd name="T65" fmla="*/ 2147483647 h 395"/>
                  <a:gd name="T66" fmla="*/ 2147483647 w 394"/>
                  <a:gd name="T67" fmla="*/ 2147483647 h 395"/>
                  <a:gd name="T68" fmla="*/ 2147483647 w 394"/>
                  <a:gd name="T69" fmla="*/ 2147483647 h 395"/>
                  <a:gd name="T70" fmla="*/ 2147483647 w 394"/>
                  <a:gd name="T71" fmla="*/ 2147483647 h 395"/>
                  <a:gd name="T72" fmla="*/ 2147483647 w 394"/>
                  <a:gd name="T73" fmla="*/ 2147483647 h 395"/>
                  <a:gd name="T74" fmla="*/ 2147483647 w 394"/>
                  <a:gd name="T75" fmla="*/ 2147483647 h 395"/>
                  <a:gd name="T76" fmla="*/ 2147483647 w 394"/>
                  <a:gd name="T77" fmla="*/ 2147483647 h 395"/>
                  <a:gd name="T78" fmla="*/ 2147483647 w 394"/>
                  <a:gd name="T79" fmla="*/ 2147483647 h 395"/>
                  <a:gd name="T80" fmla="*/ 2147483647 w 394"/>
                  <a:gd name="T81" fmla="*/ 2147483647 h 395"/>
                  <a:gd name="T82" fmla="*/ 2147483647 w 394"/>
                  <a:gd name="T83" fmla="*/ 2147483647 h 395"/>
                  <a:gd name="T84" fmla="*/ 2147483647 w 394"/>
                  <a:gd name="T85" fmla="*/ 2147483647 h 395"/>
                  <a:gd name="T86" fmla="*/ 2147483647 w 394"/>
                  <a:gd name="T87" fmla="*/ 2147483647 h 395"/>
                  <a:gd name="T88" fmla="*/ 2147483647 w 394"/>
                  <a:gd name="T89" fmla="*/ 2147483647 h 395"/>
                  <a:gd name="T90" fmla="*/ 2147483647 w 394"/>
                  <a:gd name="T91" fmla="*/ 2147483647 h 395"/>
                  <a:gd name="T92" fmla="*/ 2147483647 w 394"/>
                  <a:gd name="T93" fmla="*/ 2147483647 h 395"/>
                  <a:gd name="T94" fmla="*/ 2147483647 w 394"/>
                  <a:gd name="T95" fmla="*/ 2147483647 h 395"/>
                  <a:gd name="T96" fmla="*/ 2147483647 w 394"/>
                  <a:gd name="T97" fmla="*/ 2147483647 h 395"/>
                  <a:gd name="T98" fmla="*/ 2147483647 w 394"/>
                  <a:gd name="T99" fmla="*/ 2147483647 h 395"/>
                  <a:gd name="T100" fmla="*/ 2147483647 w 394"/>
                  <a:gd name="T101" fmla="*/ 2147483647 h 395"/>
                  <a:gd name="T102" fmla="*/ 2147483647 w 394"/>
                  <a:gd name="T103" fmla="*/ 2147483647 h 395"/>
                  <a:gd name="T104" fmla="*/ 2147483647 w 394"/>
                  <a:gd name="T105" fmla="*/ 2147483647 h 395"/>
                  <a:gd name="T106" fmla="*/ 2147483647 w 394"/>
                  <a:gd name="T107" fmla="*/ 2147483647 h 395"/>
                  <a:gd name="T108" fmla="*/ 2147483647 w 394"/>
                  <a:gd name="T109" fmla="*/ 2147483647 h 395"/>
                  <a:gd name="T110" fmla="*/ 2147483647 w 394"/>
                  <a:gd name="T111" fmla="*/ 2147483647 h 395"/>
                  <a:gd name="T112" fmla="*/ 2147483647 w 394"/>
                  <a:gd name="T113" fmla="*/ 2147483647 h 395"/>
                  <a:gd name="T114" fmla="*/ 2147483647 w 394"/>
                  <a:gd name="T115" fmla="*/ 2147483647 h 395"/>
                  <a:gd name="T116" fmla="*/ 2147483647 w 394"/>
                  <a:gd name="T117" fmla="*/ 2147483647 h 395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394" h="395">
                    <a:moveTo>
                      <a:pt x="348" y="70"/>
                    </a:moveTo>
                    <a:cubicBezTo>
                      <a:pt x="345" y="67"/>
                      <a:pt x="340" y="66"/>
                      <a:pt x="337" y="69"/>
                    </a:cubicBezTo>
                    <a:cubicBezTo>
                      <a:pt x="333" y="72"/>
                      <a:pt x="333" y="77"/>
                      <a:pt x="336" y="81"/>
                    </a:cubicBezTo>
                    <a:cubicBezTo>
                      <a:pt x="362" y="112"/>
                      <a:pt x="378" y="153"/>
                      <a:pt x="378" y="198"/>
                    </a:cubicBezTo>
                    <a:cubicBezTo>
                      <a:pt x="378" y="248"/>
                      <a:pt x="358" y="293"/>
                      <a:pt x="325" y="326"/>
                    </a:cubicBezTo>
                    <a:cubicBezTo>
                      <a:pt x="292" y="359"/>
                      <a:pt x="247" y="379"/>
                      <a:pt x="197" y="379"/>
                    </a:cubicBezTo>
                    <a:cubicBezTo>
                      <a:pt x="147" y="379"/>
                      <a:pt x="102" y="359"/>
                      <a:pt x="69" y="326"/>
                    </a:cubicBezTo>
                    <a:cubicBezTo>
                      <a:pt x="36" y="293"/>
                      <a:pt x="16" y="248"/>
                      <a:pt x="16" y="198"/>
                    </a:cubicBezTo>
                    <a:cubicBezTo>
                      <a:pt x="16" y="147"/>
                      <a:pt x="36" y="102"/>
                      <a:pt x="69" y="69"/>
                    </a:cubicBezTo>
                    <a:cubicBezTo>
                      <a:pt x="102" y="37"/>
                      <a:pt x="147" y="16"/>
                      <a:pt x="197" y="16"/>
                    </a:cubicBezTo>
                    <a:cubicBezTo>
                      <a:pt x="242" y="16"/>
                      <a:pt x="282" y="32"/>
                      <a:pt x="314" y="59"/>
                    </a:cubicBezTo>
                    <a:cubicBezTo>
                      <a:pt x="317" y="62"/>
                      <a:pt x="322" y="61"/>
                      <a:pt x="325" y="58"/>
                    </a:cubicBezTo>
                    <a:cubicBezTo>
                      <a:pt x="328" y="55"/>
                      <a:pt x="328" y="50"/>
                      <a:pt x="324" y="47"/>
                    </a:cubicBezTo>
                    <a:cubicBezTo>
                      <a:pt x="324" y="47"/>
                      <a:pt x="324" y="47"/>
                      <a:pt x="324" y="47"/>
                    </a:cubicBezTo>
                    <a:cubicBezTo>
                      <a:pt x="290" y="18"/>
                      <a:pt x="245" y="0"/>
                      <a:pt x="197" y="0"/>
                    </a:cubicBezTo>
                    <a:cubicBezTo>
                      <a:pt x="88" y="0"/>
                      <a:pt x="0" y="89"/>
                      <a:pt x="0" y="198"/>
                    </a:cubicBezTo>
                    <a:cubicBezTo>
                      <a:pt x="0" y="307"/>
                      <a:pt x="88" y="395"/>
                      <a:pt x="197" y="395"/>
                    </a:cubicBezTo>
                    <a:cubicBezTo>
                      <a:pt x="306" y="395"/>
                      <a:pt x="394" y="307"/>
                      <a:pt x="394" y="198"/>
                    </a:cubicBezTo>
                    <a:cubicBezTo>
                      <a:pt x="394" y="149"/>
                      <a:pt x="377" y="105"/>
                      <a:pt x="348" y="70"/>
                    </a:cubicBezTo>
                    <a:close/>
                    <a:moveTo>
                      <a:pt x="327" y="103"/>
                    </a:moveTo>
                    <a:cubicBezTo>
                      <a:pt x="327" y="99"/>
                      <a:pt x="323" y="95"/>
                      <a:pt x="319" y="95"/>
                    </a:cubicBezTo>
                    <a:cubicBezTo>
                      <a:pt x="74" y="95"/>
                      <a:pt x="74" y="95"/>
                      <a:pt x="74" y="95"/>
                    </a:cubicBezTo>
                    <a:cubicBezTo>
                      <a:pt x="70" y="95"/>
                      <a:pt x="66" y="99"/>
                      <a:pt x="66" y="103"/>
                    </a:cubicBezTo>
                    <a:cubicBezTo>
                      <a:pt x="66" y="107"/>
                      <a:pt x="70" y="111"/>
                      <a:pt x="74" y="111"/>
                    </a:cubicBezTo>
                    <a:cubicBezTo>
                      <a:pt x="319" y="111"/>
                      <a:pt x="319" y="111"/>
                      <a:pt x="319" y="111"/>
                    </a:cubicBezTo>
                    <a:cubicBezTo>
                      <a:pt x="323" y="111"/>
                      <a:pt x="327" y="107"/>
                      <a:pt x="327" y="103"/>
                    </a:cubicBezTo>
                    <a:close/>
                    <a:moveTo>
                      <a:pt x="245" y="149"/>
                    </a:moveTo>
                    <a:cubicBezTo>
                      <a:pt x="239" y="149"/>
                      <a:pt x="234" y="154"/>
                      <a:pt x="234" y="159"/>
                    </a:cubicBezTo>
                    <a:cubicBezTo>
                      <a:pt x="234" y="236"/>
                      <a:pt x="234" y="236"/>
                      <a:pt x="234" y="236"/>
                    </a:cubicBezTo>
                    <a:cubicBezTo>
                      <a:pt x="234" y="242"/>
                      <a:pt x="239" y="246"/>
                      <a:pt x="245" y="246"/>
                    </a:cubicBezTo>
                    <a:cubicBezTo>
                      <a:pt x="282" y="246"/>
                      <a:pt x="282" y="246"/>
                      <a:pt x="282" y="246"/>
                    </a:cubicBezTo>
                    <a:cubicBezTo>
                      <a:pt x="288" y="246"/>
                      <a:pt x="292" y="242"/>
                      <a:pt x="292" y="236"/>
                    </a:cubicBezTo>
                    <a:cubicBezTo>
                      <a:pt x="292" y="159"/>
                      <a:pt x="292" y="159"/>
                      <a:pt x="292" y="159"/>
                    </a:cubicBezTo>
                    <a:cubicBezTo>
                      <a:pt x="292" y="154"/>
                      <a:pt x="288" y="149"/>
                      <a:pt x="282" y="149"/>
                    </a:cubicBezTo>
                    <a:lnTo>
                      <a:pt x="245" y="149"/>
                    </a:lnTo>
                    <a:close/>
                    <a:moveTo>
                      <a:pt x="284" y="210"/>
                    </a:moveTo>
                    <a:cubicBezTo>
                      <a:pt x="284" y="219"/>
                      <a:pt x="277" y="224"/>
                      <a:pt x="269" y="226"/>
                    </a:cubicBezTo>
                    <a:cubicBezTo>
                      <a:pt x="268" y="226"/>
                      <a:pt x="267" y="226"/>
                      <a:pt x="267" y="226"/>
                    </a:cubicBezTo>
                    <a:cubicBezTo>
                      <a:pt x="266" y="226"/>
                      <a:pt x="264" y="225"/>
                      <a:pt x="264" y="223"/>
                    </a:cubicBezTo>
                    <a:cubicBezTo>
                      <a:pt x="264" y="222"/>
                      <a:pt x="265" y="221"/>
                      <a:pt x="267" y="221"/>
                    </a:cubicBezTo>
                    <a:cubicBezTo>
                      <a:pt x="273" y="220"/>
                      <a:pt x="278" y="216"/>
                      <a:pt x="278" y="210"/>
                    </a:cubicBezTo>
                    <a:cubicBezTo>
                      <a:pt x="278" y="204"/>
                      <a:pt x="273" y="199"/>
                      <a:pt x="262" y="199"/>
                    </a:cubicBezTo>
                    <a:cubicBezTo>
                      <a:pt x="253" y="199"/>
                      <a:pt x="248" y="204"/>
                      <a:pt x="248" y="210"/>
                    </a:cubicBezTo>
                    <a:cubicBezTo>
                      <a:pt x="248" y="217"/>
                      <a:pt x="253" y="220"/>
                      <a:pt x="260" y="221"/>
                    </a:cubicBezTo>
                    <a:cubicBezTo>
                      <a:pt x="261" y="221"/>
                      <a:pt x="262" y="222"/>
                      <a:pt x="262" y="223"/>
                    </a:cubicBezTo>
                    <a:cubicBezTo>
                      <a:pt x="262" y="225"/>
                      <a:pt x="261" y="226"/>
                      <a:pt x="259" y="226"/>
                    </a:cubicBezTo>
                    <a:cubicBezTo>
                      <a:pt x="259" y="226"/>
                      <a:pt x="258" y="226"/>
                      <a:pt x="258" y="226"/>
                    </a:cubicBezTo>
                    <a:cubicBezTo>
                      <a:pt x="249" y="224"/>
                      <a:pt x="242" y="219"/>
                      <a:pt x="242" y="210"/>
                    </a:cubicBezTo>
                    <a:cubicBezTo>
                      <a:pt x="242" y="203"/>
                      <a:pt x="247" y="198"/>
                      <a:pt x="253" y="196"/>
                    </a:cubicBezTo>
                    <a:cubicBezTo>
                      <a:pt x="253" y="196"/>
                      <a:pt x="253" y="196"/>
                      <a:pt x="253" y="196"/>
                    </a:cubicBezTo>
                    <a:cubicBezTo>
                      <a:pt x="247" y="195"/>
                      <a:pt x="244" y="191"/>
                      <a:pt x="244" y="184"/>
                    </a:cubicBezTo>
                    <a:cubicBezTo>
                      <a:pt x="244" y="176"/>
                      <a:pt x="248" y="171"/>
                      <a:pt x="258" y="169"/>
                    </a:cubicBezTo>
                    <a:cubicBezTo>
                      <a:pt x="258" y="169"/>
                      <a:pt x="259" y="169"/>
                      <a:pt x="259" y="169"/>
                    </a:cubicBezTo>
                    <a:cubicBezTo>
                      <a:pt x="261" y="169"/>
                      <a:pt x="262" y="170"/>
                      <a:pt x="262" y="172"/>
                    </a:cubicBezTo>
                    <a:cubicBezTo>
                      <a:pt x="262" y="173"/>
                      <a:pt x="261" y="174"/>
                      <a:pt x="260" y="174"/>
                    </a:cubicBezTo>
                    <a:cubicBezTo>
                      <a:pt x="253" y="175"/>
                      <a:pt x="249" y="178"/>
                      <a:pt x="249" y="184"/>
                    </a:cubicBezTo>
                    <a:cubicBezTo>
                      <a:pt x="249" y="190"/>
                      <a:pt x="254" y="194"/>
                      <a:pt x="264" y="194"/>
                    </a:cubicBezTo>
                    <a:cubicBezTo>
                      <a:pt x="271" y="194"/>
                      <a:pt x="277" y="190"/>
                      <a:pt x="277" y="184"/>
                    </a:cubicBezTo>
                    <a:cubicBezTo>
                      <a:pt x="277" y="178"/>
                      <a:pt x="273" y="175"/>
                      <a:pt x="267" y="174"/>
                    </a:cubicBezTo>
                    <a:cubicBezTo>
                      <a:pt x="265" y="174"/>
                      <a:pt x="264" y="173"/>
                      <a:pt x="264" y="172"/>
                    </a:cubicBezTo>
                    <a:cubicBezTo>
                      <a:pt x="264" y="170"/>
                      <a:pt x="266" y="169"/>
                      <a:pt x="267" y="169"/>
                    </a:cubicBezTo>
                    <a:cubicBezTo>
                      <a:pt x="267" y="169"/>
                      <a:pt x="268" y="169"/>
                      <a:pt x="269" y="169"/>
                    </a:cubicBezTo>
                    <a:cubicBezTo>
                      <a:pt x="278" y="171"/>
                      <a:pt x="282" y="177"/>
                      <a:pt x="282" y="184"/>
                    </a:cubicBezTo>
                    <a:cubicBezTo>
                      <a:pt x="282" y="190"/>
                      <a:pt x="279" y="194"/>
                      <a:pt x="274" y="196"/>
                    </a:cubicBezTo>
                    <a:cubicBezTo>
                      <a:pt x="274" y="196"/>
                      <a:pt x="274" y="196"/>
                      <a:pt x="274" y="196"/>
                    </a:cubicBezTo>
                    <a:cubicBezTo>
                      <a:pt x="279" y="198"/>
                      <a:pt x="283" y="203"/>
                      <a:pt x="284" y="210"/>
                    </a:cubicBezTo>
                    <a:close/>
                    <a:moveTo>
                      <a:pt x="113" y="149"/>
                    </a:moveTo>
                    <a:cubicBezTo>
                      <a:pt x="107" y="149"/>
                      <a:pt x="102" y="154"/>
                      <a:pt x="102" y="159"/>
                    </a:cubicBezTo>
                    <a:cubicBezTo>
                      <a:pt x="102" y="236"/>
                      <a:pt x="102" y="236"/>
                      <a:pt x="102" y="236"/>
                    </a:cubicBezTo>
                    <a:cubicBezTo>
                      <a:pt x="102" y="242"/>
                      <a:pt x="107" y="246"/>
                      <a:pt x="113" y="246"/>
                    </a:cubicBezTo>
                    <a:cubicBezTo>
                      <a:pt x="150" y="246"/>
                      <a:pt x="150" y="246"/>
                      <a:pt x="150" y="246"/>
                    </a:cubicBezTo>
                    <a:cubicBezTo>
                      <a:pt x="156" y="246"/>
                      <a:pt x="161" y="242"/>
                      <a:pt x="161" y="236"/>
                    </a:cubicBezTo>
                    <a:cubicBezTo>
                      <a:pt x="161" y="159"/>
                      <a:pt x="161" y="159"/>
                      <a:pt x="161" y="159"/>
                    </a:cubicBezTo>
                    <a:cubicBezTo>
                      <a:pt x="161" y="154"/>
                      <a:pt x="156" y="149"/>
                      <a:pt x="150" y="149"/>
                    </a:cubicBezTo>
                    <a:lnTo>
                      <a:pt x="113" y="149"/>
                    </a:lnTo>
                    <a:close/>
                    <a:moveTo>
                      <a:pt x="116" y="226"/>
                    </a:moveTo>
                    <a:cubicBezTo>
                      <a:pt x="114" y="226"/>
                      <a:pt x="113" y="225"/>
                      <a:pt x="113" y="223"/>
                    </a:cubicBezTo>
                    <a:cubicBezTo>
                      <a:pt x="113" y="222"/>
                      <a:pt x="114" y="220"/>
                      <a:pt x="116" y="220"/>
                    </a:cubicBezTo>
                    <a:cubicBezTo>
                      <a:pt x="133" y="221"/>
                      <a:pt x="144" y="215"/>
                      <a:pt x="144" y="204"/>
                    </a:cubicBezTo>
                    <a:cubicBezTo>
                      <a:pt x="144" y="198"/>
                      <a:pt x="140" y="194"/>
                      <a:pt x="133" y="194"/>
                    </a:cubicBezTo>
                    <a:cubicBezTo>
                      <a:pt x="126" y="194"/>
                      <a:pt x="122" y="196"/>
                      <a:pt x="120" y="198"/>
                    </a:cubicBezTo>
                    <a:cubicBezTo>
                      <a:pt x="116" y="199"/>
                      <a:pt x="115" y="197"/>
                      <a:pt x="115" y="195"/>
                    </a:cubicBezTo>
                    <a:cubicBezTo>
                      <a:pt x="115" y="174"/>
                      <a:pt x="115" y="174"/>
                      <a:pt x="115" y="174"/>
                    </a:cubicBezTo>
                    <a:cubicBezTo>
                      <a:pt x="115" y="171"/>
                      <a:pt x="117" y="170"/>
                      <a:pt x="120" y="170"/>
                    </a:cubicBezTo>
                    <a:cubicBezTo>
                      <a:pt x="144" y="169"/>
                      <a:pt x="144" y="169"/>
                      <a:pt x="144" y="169"/>
                    </a:cubicBezTo>
                    <a:cubicBezTo>
                      <a:pt x="145" y="169"/>
                      <a:pt x="147" y="171"/>
                      <a:pt x="147" y="172"/>
                    </a:cubicBezTo>
                    <a:cubicBezTo>
                      <a:pt x="147" y="174"/>
                      <a:pt x="145" y="175"/>
                      <a:pt x="144" y="175"/>
                    </a:cubicBezTo>
                    <a:cubicBezTo>
                      <a:pt x="120" y="175"/>
                      <a:pt x="120" y="175"/>
                      <a:pt x="120" y="175"/>
                    </a:cubicBezTo>
                    <a:cubicBezTo>
                      <a:pt x="120" y="192"/>
                      <a:pt x="120" y="192"/>
                      <a:pt x="120" y="192"/>
                    </a:cubicBezTo>
                    <a:cubicBezTo>
                      <a:pt x="123" y="190"/>
                      <a:pt x="127" y="189"/>
                      <a:pt x="133" y="189"/>
                    </a:cubicBezTo>
                    <a:cubicBezTo>
                      <a:pt x="143" y="189"/>
                      <a:pt x="150" y="195"/>
                      <a:pt x="150" y="204"/>
                    </a:cubicBezTo>
                    <a:cubicBezTo>
                      <a:pt x="150" y="218"/>
                      <a:pt x="137" y="227"/>
                      <a:pt x="116" y="226"/>
                    </a:cubicBezTo>
                    <a:close/>
                    <a:moveTo>
                      <a:pt x="74" y="300"/>
                    </a:moveTo>
                    <a:cubicBezTo>
                      <a:pt x="319" y="300"/>
                      <a:pt x="319" y="300"/>
                      <a:pt x="319" y="300"/>
                    </a:cubicBezTo>
                    <a:cubicBezTo>
                      <a:pt x="323" y="300"/>
                      <a:pt x="327" y="297"/>
                      <a:pt x="327" y="292"/>
                    </a:cubicBezTo>
                    <a:cubicBezTo>
                      <a:pt x="327" y="288"/>
                      <a:pt x="323" y="284"/>
                      <a:pt x="319" y="284"/>
                    </a:cubicBezTo>
                    <a:cubicBezTo>
                      <a:pt x="74" y="284"/>
                      <a:pt x="74" y="284"/>
                      <a:pt x="74" y="284"/>
                    </a:cubicBezTo>
                    <a:cubicBezTo>
                      <a:pt x="70" y="284"/>
                      <a:pt x="66" y="288"/>
                      <a:pt x="66" y="292"/>
                    </a:cubicBezTo>
                    <a:cubicBezTo>
                      <a:pt x="66" y="297"/>
                      <a:pt x="70" y="300"/>
                      <a:pt x="74" y="300"/>
                    </a:cubicBezTo>
                    <a:close/>
                    <a:moveTo>
                      <a:pt x="37" y="159"/>
                    </a:moveTo>
                    <a:cubicBezTo>
                      <a:pt x="37" y="236"/>
                      <a:pt x="37" y="236"/>
                      <a:pt x="37" y="236"/>
                    </a:cubicBezTo>
                    <a:cubicBezTo>
                      <a:pt x="37" y="242"/>
                      <a:pt x="41" y="246"/>
                      <a:pt x="47" y="246"/>
                    </a:cubicBezTo>
                    <a:cubicBezTo>
                      <a:pt x="84" y="246"/>
                      <a:pt x="84" y="246"/>
                      <a:pt x="84" y="246"/>
                    </a:cubicBezTo>
                    <a:cubicBezTo>
                      <a:pt x="90" y="246"/>
                      <a:pt x="95" y="242"/>
                      <a:pt x="95" y="236"/>
                    </a:cubicBezTo>
                    <a:cubicBezTo>
                      <a:pt x="95" y="159"/>
                      <a:pt x="95" y="159"/>
                      <a:pt x="95" y="159"/>
                    </a:cubicBezTo>
                    <a:cubicBezTo>
                      <a:pt x="95" y="154"/>
                      <a:pt x="90" y="149"/>
                      <a:pt x="84" y="149"/>
                    </a:cubicBezTo>
                    <a:cubicBezTo>
                      <a:pt x="47" y="149"/>
                      <a:pt x="47" y="149"/>
                      <a:pt x="47" y="149"/>
                    </a:cubicBezTo>
                    <a:cubicBezTo>
                      <a:pt x="41" y="149"/>
                      <a:pt x="37" y="154"/>
                      <a:pt x="37" y="159"/>
                    </a:cubicBezTo>
                    <a:close/>
                    <a:moveTo>
                      <a:pt x="65" y="175"/>
                    </a:moveTo>
                    <a:cubicBezTo>
                      <a:pt x="59" y="175"/>
                      <a:pt x="55" y="177"/>
                      <a:pt x="53" y="181"/>
                    </a:cubicBezTo>
                    <a:cubicBezTo>
                      <a:pt x="53" y="181"/>
                      <a:pt x="52" y="182"/>
                      <a:pt x="51" y="182"/>
                    </a:cubicBezTo>
                    <a:cubicBezTo>
                      <a:pt x="50" y="182"/>
                      <a:pt x="48" y="181"/>
                      <a:pt x="48" y="180"/>
                    </a:cubicBezTo>
                    <a:cubicBezTo>
                      <a:pt x="47" y="179"/>
                      <a:pt x="48" y="178"/>
                      <a:pt x="48" y="178"/>
                    </a:cubicBezTo>
                    <a:cubicBezTo>
                      <a:pt x="51" y="174"/>
                      <a:pt x="56" y="169"/>
                      <a:pt x="65" y="169"/>
                    </a:cubicBezTo>
                    <a:cubicBezTo>
                      <a:pt x="77" y="169"/>
                      <a:pt x="83" y="176"/>
                      <a:pt x="83" y="184"/>
                    </a:cubicBezTo>
                    <a:cubicBezTo>
                      <a:pt x="83" y="193"/>
                      <a:pt x="78" y="197"/>
                      <a:pt x="65" y="206"/>
                    </a:cubicBezTo>
                    <a:cubicBezTo>
                      <a:pt x="57" y="212"/>
                      <a:pt x="53" y="216"/>
                      <a:pt x="53" y="220"/>
                    </a:cubicBezTo>
                    <a:cubicBezTo>
                      <a:pt x="81" y="220"/>
                      <a:pt x="81" y="220"/>
                      <a:pt x="81" y="220"/>
                    </a:cubicBezTo>
                    <a:cubicBezTo>
                      <a:pt x="83" y="220"/>
                      <a:pt x="84" y="222"/>
                      <a:pt x="84" y="223"/>
                    </a:cubicBezTo>
                    <a:cubicBezTo>
                      <a:pt x="84" y="225"/>
                      <a:pt x="83" y="226"/>
                      <a:pt x="81" y="226"/>
                    </a:cubicBezTo>
                    <a:cubicBezTo>
                      <a:pt x="52" y="226"/>
                      <a:pt x="52" y="226"/>
                      <a:pt x="52" y="226"/>
                    </a:cubicBezTo>
                    <a:cubicBezTo>
                      <a:pt x="49" y="226"/>
                      <a:pt x="48" y="224"/>
                      <a:pt x="48" y="222"/>
                    </a:cubicBezTo>
                    <a:cubicBezTo>
                      <a:pt x="48" y="215"/>
                      <a:pt x="51" y="209"/>
                      <a:pt x="60" y="203"/>
                    </a:cubicBezTo>
                    <a:cubicBezTo>
                      <a:pt x="73" y="194"/>
                      <a:pt x="77" y="191"/>
                      <a:pt x="77" y="184"/>
                    </a:cubicBezTo>
                    <a:cubicBezTo>
                      <a:pt x="77" y="180"/>
                      <a:pt x="74" y="175"/>
                      <a:pt x="65" y="175"/>
                    </a:cubicBezTo>
                    <a:close/>
                    <a:moveTo>
                      <a:pt x="179" y="149"/>
                    </a:moveTo>
                    <a:cubicBezTo>
                      <a:pt x="173" y="149"/>
                      <a:pt x="168" y="154"/>
                      <a:pt x="168" y="159"/>
                    </a:cubicBezTo>
                    <a:cubicBezTo>
                      <a:pt x="168" y="236"/>
                      <a:pt x="168" y="236"/>
                      <a:pt x="168" y="236"/>
                    </a:cubicBezTo>
                    <a:cubicBezTo>
                      <a:pt x="168" y="242"/>
                      <a:pt x="173" y="246"/>
                      <a:pt x="179" y="246"/>
                    </a:cubicBezTo>
                    <a:cubicBezTo>
                      <a:pt x="216" y="246"/>
                      <a:pt x="216" y="246"/>
                      <a:pt x="216" y="246"/>
                    </a:cubicBezTo>
                    <a:cubicBezTo>
                      <a:pt x="222" y="246"/>
                      <a:pt x="226" y="242"/>
                      <a:pt x="226" y="236"/>
                    </a:cubicBezTo>
                    <a:cubicBezTo>
                      <a:pt x="226" y="159"/>
                      <a:pt x="226" y="159"/>
                      <a:pt x="226" y="159"/>
                    </a:cubicBezTo>
                    <a:cubicBezTo>
                      <a:pt x="226" y="154"/>
                      <a:pt x="222" y="149"/>
                      <a:pt x="216" y="149"/>
                    </a:cubicBezTo>
                    <a:lnTo>
                      <a:pt x="179" y="149"/>
                    </a:lnTo>
                    <a:close/>
                    <a:moveTo>
                      <a:pt x="182" y="226"/>
                    </a:moveTo>
                    <a:cubicBezTo>
                      <a:pt x="180" y="226"/>
                      <a:pt x="179" y="225"/>
                      <a:pt x="179" y="223"/>
                    </a:cubicBezTo>
                    <a:cubicBezTo>
                      <a:pt x="179" y="221"/>
                      <a:pt x="180" y="220"/>
                      <a:pt x="182" y="220"/>
                    </a:cubicBezTo>
                    <a:cubicBezTo>
                      <a:pt x="199" y="221"/>
                      <a:pt x="210" y="216"/>
                      <a:pt x="210" y="205"/>
                    </a:cubicBezTo>
                    <a:cubicBezTo>
                      <a:pt x="210" y="199"/>
                      <a:pt x="205" y="195"/>
                      <a:pt x="198" y="195"/>
                    </a:cubicBezTo>
                    <a:cubicBezTo>
                      <a:pt x="195" y="195"/>
                      <a:pt x="194" y="196"/>
                      <a:pt x="193" y="196"/>
                    </a:cubicBezTo>
                    <a:cubicBezTo>
                      <a:pt x="191" y="196"/>
                      <a:pt x="190" y="194"/>
                      <a:pt x="190" y="193"/>
                    </a:cubicBezTo>
                    <a:cubicBezTo>
                      <a:pt x="190" y="192"/>
                      <a:pt x="190" y="192"/>
                      <a:pt x="191" y="191"/>
                    </a:cubicBezTo>
                    <a:cubicBezTo>
                      <a:pt x="205" y="175"/>
                      <a:pt x="205" y="175"/>
                      <a:pt x="205" y="175"/>
                    </a:cubicBezTo>
                    <a:cubicBezTo>
                      <a:pt x="182" y="175"/>
                      <a:pt x="182" y="175"/>
                      <a:pt x="182" y="175"/>
                    </a:cubicBezTo>
                    <a:cubicBezTo>
                      <a:pt x="180" y="175"/>
                      <a:pt x="179" y="174"/>
                      <a:pt x="179" y="172"/>
                    </a:cubicBezTo>
                    <a:cubicBezTo>
                      <a:pt x="179" y="171"/>
                      <a:pt x="180" y="169"/>
                      <a:pt x="182" y="169"/>
                    </a:cubicBezTo>
                    <a:cubicBezTo>
                      <a:pt x="208" y="169"/>
                      <a:pt x="208" y="169"/>
                      <a:pt x="208" y="169"/>
                    </a:cubicBezTo>
                    <a:cubicBezTo>
                      <a:pt x="210" y="169"/>
                      <a:pt x="212" y="171"/>
                      <a:pt x="212" y="174"/>
                    </a:cubicBezTo>
                    <a:cubicBezTo>
                      <a:pt x="212" y="174"/>
                      <a:pt x="212" y="175"/>
                      <a:pt x="211" y="176"/>
                    </a:cubicBezTo>
                    <a:cubicBezTo>
                      <a:pt x="199" y="190"/>
                      <a:pt x="199" y="190"/>
                      <a:pt x="199" y="190"/>
                    </a:cubicBezTo>
                    <a:cubicBezTo>
                      <a:pt x="208" y="190"/>
                      <a:pt x="216" y="196"/>
                      <a:pt x="216" y="205"/>
                    </a:cubicBezTo>
                    <a:cubicBezTo>
                      <a:pt x="216" y="219"/>
                      <a:pt x="203" y="227"/>
                      <a:pt x="182" y="226"/>
                    </a:cubicBezTo>
                    <a:close/>
                    <a:moveTo>
                      <a:pt x="358" y="236"/>
                    </a:moveTo>
                    <a:cubicBezTo>
                      <a:pt x="358" y="159"/>
                      <a:pt x="358" y="159"/>
                      <a:pt x="358" y="159"/>
                    </a:cubicBezTo>
                    <a:cubicBezTo>
                      <a:pt x="358" y="154"/>
                      <a:pt x="353" y="149"/>
                      <a:pt x="348" y="149"/>
                    </a:cubicBezTo>
                    <a:cubicBezTo>
                      <a:pt x="310" y="149"/>
                      <a:pt x="310" y="149"/>
                      <a:pt x="310" y="149"/>
                    </a:cubicBezTo>
                    <a:cubicBezTo>
                      <a:pt x="305" y="149"/>
                      <a:pt x="300" y="154"/>
                      <a:pt x="300" y="159"/>
                    </a:cubicBezTo>
                    <a:cubicBezTo>
                      <a:pt x="300" y="236"/>
                      <a:pt x="300" y="236"/>
                      <a:pt x="300" y="236"/>
                    </a:cubicBezTo>
                    <a:cubicBezTo>
                      <a:pt x="300" y="242"/>
                      <a:pt x="305" y="246"/>
                      <a:pt x="310" y="246"/>
                    </a:cubicBezTo>
                    <a:cubicBezTo>
                      <a:pt x="348" y="246"/>
                      <a:pt x="348" y="246"/>
                      <a:pt x="348" y="246"/>
                    </a:cubicBezTo>
                    <a:cubicBezTo>
                      <a:pt x="353" y="246"/>
                      <a:pt x="358" y="242"/>
                      <a:pt x="358" y="236"/>
                    </a:cubicBezTo>
                    <a:close/>
                    <a:moveTo>
                      <a:pt x="315" y="226"/>
                    </a:moveTo>
                    <a:cubicBezTo>
                      <a:pt x="314" y="226"/>
                      <a:pt x="313" y="225"/>
                      <a:pt x="312" y="224"/>
                    </a:cubicBezTo>
                    <a:cubicBezTo>
                      <a:pt x="312" y="222"/>
                      <a:pt x="314" y="221"/>
                      <a:pt x="315" y="221"/>
                    </a:cubicBezTo>
                    <a:cubicBezTo>
                      <a:pt x="334" y="221"/>
                      <a:pt x="343" y="216"/>
                      <a:pt x="343" y="197"/>
                    </a:cubicBezTo>
                    <a:cubicBezTo>
                      <a:pt x="343" y="194"/>
                      <a:pt x="343" y="191"/>
                      <a:pt x="343" y="189"/>
                    </a:cubicBezTo>
                    <a:cubicBezTo>
                      <a:pt x="342" y="179"/>
                      <a:pt x="338" y="174"/>
                      <a:pt x="328" y="174"/>
                    </a:cubicBezTo>
                    <a:cubicBezTo>
                      <a:pt x="319" y="174"/>
                      <a:pt x="315" y="179"/>
                      <a:pt x="315" y="187"/>
                    </a:cubicBezTo>
                    <a:cubicBezTo>
                      <a:pt x="315" y="196"/>
                      <a:pt x="318" y="200"/>
                      <a:pt x="328" y="200"/>
                    </a:cubicBezTo>
                    <a:cubicBezTo>
                      <a:pt x="330" y="200"/>
                      <a:pt x="332" y="199"/>
                      <a:pt x="336" y="198"/>
                    </a:cubicBezTo>
                    <a:cubicBezTo>
                      <a:pt x="338" y="198"/>
                      <a:pt x="339" y="199"/>
                      <a:pt x="339" y="200"/>
                    </a:cubicBezTo>
                    <a:cubicBezTo>
                      <a:pt x="340" y="202"/>
                      <a:pt x="339" y="203"/>
                      <a:pt x="337" y="204"/>
                    </a:cubicBezTo>
                    <a:cubicBezTo>
                      <a:pt x="334" y="204"/>
                      <a:pt x="332" y="205"/>
                      <a:pt x="328" y="205"/>
                    </a:cubicBezTo>
                    <a:cubicBezTo>
                      <a:pt x="316" y="205"/>
                      <a:pt x="309" y="199"/>
                      <a:pt x="309" y="188"/>
                    </a:cubicBezTo>
                    <a:cubicBezTo>
                      <a:pt x="309" y="178"/>
                      <a:pt x="316" y="169"/>
                      <a:pt x="328" y="169"/>
                    </a:cubicBezTo>
                    <a:cubicBezTo>
                      <a:pt x="341" y="169"/>
                      <a:pt x="348" y="176"/>
                      <a:pt x="349" y="189"/>
                    </a:cubicBezTo>
                    <a:cubicBezTo>
                      <a:pt x="349" y="191"/>
                      <a:pt x="349" y="193"/>
                      <a:pt x="349" y="197"/>
                    </a:cubicBezTo>
                    <a:cubicBezTo>
                      <a:pt x="348" y="219"/>
                      <a:pt x="337" y="226"/>
                      <a:pt x="315" y="2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8580" tIns="34290" rIns="68580" bIns="3429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2" name="Freeform 3">
                <a:extLst>
                  <a:ext uri="{FF2B5EF4-FFF2-40B4-BE49-F238E27FC236}">
                    <a16:creationId xmlns="" xmlns:a16="http://schemas.microsoft.com/office/drawing/2014/main" id="{28A02AE9-D97B-4258-9F8B-0999EA1562BB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0771643" y="1532500"/>
                <a:ext cx="628954" cy="337178"/>
              </a:xfrm>
              <a:custGeom>
                <a:avLst/>
                <a:gdLst>
                  <a:gd name="T0" fmla="*/ 2147483647 w 671"/>
                  <a:gd name="T1" fmla="*/ 2147483647 h 360"/>
                  <a:gd name="T2" fmla="*/ 2147483647 w 671"/>
                  <a:gd name="T3" fmla="*/ 2147483647 h 360"/>
                  <a:gd name="T4" fmla="*/ 2147483647 w 671"/>
                  <a:gd name="T5" fmla="*/ 2147483647 h 360"/>
                  <a:gd name="T6" fmla="*/ 2147483647 w 671"/>
                  <a:gd name="T7" fmla="*/ 2147483647 h 360"/>
                  <a:gd name="T8" fmla="*/ 2147483647 w 671"/>
                  <a:gd name="T9" fmla="*/ 2147483647 h 360"/>
                  <a:gd name="T10" fmla="*/ 2147483647 w 671"/>
                  <a:gd name="T11" fmla="*/ 2147483647 h 360"/>
                  <a:gd name="T12" fmla="*/ 2147483647 w 671"/>
                  <a:gd name="T13" fmla="*/ 2147483647 h 360"/>
                  <a:gd name="T14" fmla="*/ 2147483647 w 671"/>
                  <a:gd name="T15" fmla="*/ 2147483647 h 360"/>
                  <a:gd name="T16" fmla="*/ 2147483647 w 671"/>
                  <a:gd name="T17" fmla="*/ 2147483647 h 360"/>
                  <a:gd name="T18" fmla="*/ 2147483647 w 671"/>
                  <a:gd name="T19" fmla="*/ 2147483647 h 360"/>
                  <a:gd name="T20" fmla="*/ 2147483647 w 671"/>
                  <a:gd name="T21" fmla="*/ 2147483647 h 360"/>
                  <a:gd name="T22" fmla="*/ 2147483647 w 671"/>
                  <a:gd name="T23" fmla="*/ 2147483647 h 360"/>
                  <a:gd name="T24" fmla="*/ 2147483647 w 671"/>
                  <a:gd name="T25" fmla="*/ 2147483647 h 360"/>
                  <a:gd name="T26" fmla="*/ 2147483647 w 671"/>
                  <a:gd name="T27" fmla="*/ 2147483647 h 360"/>
                  <a:gd name="T28" fmla="*/ 2147483647 w 671"/>
                  <a:gd name="T29" fmla="*/ 2147483647 h 360"/>
                  <a:gd name="T30" fmla="*/ 2147483647 w 671"/>
                  <a:gd name="T31" fmla="*/ 2147483647 h 360"/>
                  <a:gd name="T32" fmla="*/ 2147483647 w 671"/>
                  <a:gd name="T33" fmla="*/ 2147483647 h 360"/>
                  <a:gd name="T34" fmla="*/ 2147483647 w 671"/>
                  <a:gd name="T35" fmla="*/ 2147483647 h 360"/>
                  <a:gd name="T36" fmla="*/ 2147483647 w 671"/>
                  <a:gd name="T37" fmla="*/ 2147483647 h 360"/>
                  <a:gd name="T38" fmla="*/ 2147483647 w 671"/>
                  <a:gd name="T39" fmla="*/ 2147483647 h 360"/>
                  <a:gd name="T40" fmla="*/ 2147483647 w 671"/>
                  <a:gd name="T41" fmla="*/ 2147483647 h 360"/>
                  <a:gd name="T42" fmla="*/ 2147483647 w 671"/>
                  <a:gd name="T43" fmla="*/ 2147483647 h 360"/>
                  <a:gd name="T44" fmla="*/ 2147483647 w 671"/>
                  <a:gd name="T45" fmla="*/ 2147483647 h 360"/>
                  <a:gd name="T46" fmla="*/ 2147483647 w 671"/>
                  <a:gd name="T47" fmla="*/ 2147483647 h 360"/>
                  <a:gd name="T48" fmla="*/ 2147483647 w 671"/>
                  <a:gd name="T49" fmla="*/ 2147483647 h 360"/>
                  <a:gd name="T50" fmla="*/ 2147483647 w 671"/>
                  <a:gd name="T51" fmla="*/ 2147483647 h 360"/>
                  <a:gd name="T52" fmla="*/ 2147483647 w 671"/>
                  <a:gd name="T53" fmla="*/ 2147483647 h 360"/>
                  <a:gd name="T54" fmla="*/ 2147483647 w 671"/>
                  <a:gd name="T55" fmla="*/ 2147483647 h 360"/>
                  <a:gd name="T56" fmla="*/ 2147483647 w 671"/>
                  <a:gd name="T57" fmla="*/ 2147483647 h 360"/>
                  <a:gd name="T58" fmla="*/ 2147483647 w 671"/>
                  <a:gd name="T59" fmla="*/ 2147483647 h 360"/>
                  <a:gd name="T60" fmla="*/ 2147483647 w 671"/>
                  <a:gd name="T61" fmla="*/ 2147483647 h 360"/>
                  <a:gd name="T62" fmla="*/ 2147483647 w 671"/>
                  <a:gd name="T63" fmla="*/ 2147483647 h 360"/>
                  <a:gd name="T64" fmla="*/ 2147483647 w 671"/>
                  <a:gd name="T65" fmla="*/ 2147483647 h 360"/>
                  <a:gd name="T66" fmla="*/ 2147483647 w 671"/>
                  <a:gd name="T67" fmla="*/ 2147483647 h 360"/>
                  <a:gd name="T68" fmla="*/ 2147483647 w 671"/>
                  <a:gd name="T69" fmla="*/ 2147483647 h 360"/>
                  <a:gd name="T70" fmla="*/ 2147483647 w 671"/>
                  <a:gd name="T71" fmla="*/ 2147483647 h 360"/>
                  <a:gd name="T72" fmla="*/ 2147483647 w 671"/>
                  <a:gd name="T73" fmla="*/ 2147483647 h 360"/>
                  <a:gd name="T74" fmla="*/ 2147483647 w 671"/>
                  <a:gd name="T75" fmla="*/ 2147483647 h 360"/>
                  <a:gd name="T76" fmla="*/ 2147483647 w 671"/>
                  <a:gd name="T77" fmla="*/ 2147483647 h 360"/>
                  <a:gd name="T78" fmla="*/ 2147483647 w 671"/>
                  <a:gd name="T79" fmla="*/ 2147483647 h 360"/>
                  <a:gd name="T80" fmla="*/ 2147483647 w 671"/>
                  <a:gd name="T81" fmla="*/ 2147483647 h 360"/>
                  <a:gd name="T82" fmla="*/ 2147483647 w 671"/>
                  <a:gd name="T83" fmla="*/ 2147483647 h 360"/>
                  <a:gd name="T84" fmla="*/ 2147483647 w 671"/>
                  <a:gd name="T85" fmla="*/ 2147483647 h 360"/>
                  <a:gd name="T86" fmla="*/ 2147483647 w 671"/>
                  <a:gd name="T87" fmla="*/ 2147483647 h 360"/>
                  <a:gd name="T88" fmla="*/ 2147483647 w 671"/>
                  <a:gd name="T89" fmla="*/ 2147483647 h 360"/>
                  <a:gd name="T90" fmla="*/ 2147483647 w 671"/>
                  <a:gd name="T91" fmla="*/ 2147483647 h 360"/>
                  <a:gd name="T92" fmla="*/ 2147483647 w 671"/>
                  <a:gd name="T93" fmla="*/ 2147483647 h 360"/>
                  <a:gd name="T94" fmla="*/ 2147483647 w 671"/>
                  <a:gd name="T95" fmla="*/ 2147483647 h 360"/>
                  <a:gd name="T96" fmla="*/ 2147483647 w 671"/>
                  <a:gd name="T97" fmla="*/ 2147483647 h 360"/>
                  <a:gd name="T98" fmla="*/ 2147483647 w 671"/>
                  <a:gd name="T99" fmla="*/ 2147483647 h 360"/>
                  <a:gd name="T100" fmla="*/ 2147483647 w 671"/>
                  <a:gd name="T101" fmla="*/ 2147483647 h 36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671" h="360">
                    <a:moveTo>
                      <a:pt x="663" y="88"/>
                    </a:moveTo>
                    <a:cubicBezTo>
                      <a:pt x="667" y="88"/>
                      <a:pt x="671" y="85"/>
                      <a:pt x="671" y="80"/>
                    </a:cubicBezTo>
                    <a:cubicBezTo>
                      <a:pt x="671" y="68"/>
                      <a:pt x="671" y="68"/>
                      <a:pt x="671" y="68"/>
                    </a:cubicBezTo>
                    <a:cubicBezTo>
                      <a:pt x="671" y="47"/>
                      <a:pt x="650" y="41"/>
                      <a:pt x="643" y="38"/>
                    </a:cubicBezTo>
                    <a:cubicBezTo>
                      <a:pt x="635" y="35"/>
                      <a:pt x="547" y="0"/>
                      <a:pt x="339" y="0"/>
                    </a:cubicBezTo>
                    <a:cubicBezTo>
                      <a:pt x="130" y="0"/>
                      <a:pt x="35" y="35"/>
                      <a:pt x="28" y="38"/>
                    </a:cubicBezTo>
                    <a:cubicBezTo>
                      <a:pt x="9" y="44"/>
                      <a:pt x="0" y="54"/>
                      <a:pt x="0" y="68"/>
                    </a:cubicBezTo>
                    <a:cubicBezTo>
                      <a:pt x="0" y="275"/>
                      <a:pt x="0" y="275"/>
                      <a:pt x="0" y="275"/>
                    </a:cubicBezTo>
                    <a:cubicBezTo>
                      <a:pt x="0" y="293"/>
                      <a:pt x="12" y="306"/>
                      <a:pt x="30" y="306"/>
                    </a:cubicBezTo>
                    <a:cubicBezTo>
                      <a:pt x="36" y="306"/>
                      <a:pt x="43" y="304"/>
                      <a:pt x="54" y="302"/>
                    </a:cubicBezTo>
                    <a:cubicBezTo>
                      <a:pt x="59" y="300"/>
                      <a:pt x="65" y="299"/>
                      <a:pt x="72" y="297"/>
                    </a:cubicBezTo>
                    <a:cubicBezTo>
                      <a:pt x="72" y="341"/>
                      <a:pt x="72" y="341"/>
                      <a:pt x="72" y="341"/>
                    </a:cubicBezTo>
                    <a:cubicBezTo>
                      <a:pt x="72" y="349"/>
                      <a:pt x="79" y="358"/>
                      <a:pt x="90" y="358"/>
                    </a:cubicBezTo>
                    <a:cubicBezTo>
                      <a:pt x="208" y="358"/>
                      <a:pt x="208" y="358"/>
                      <a:pt x="208" y="358"/>
                    </a:cubicBezTo>
                    <a:cubicBezTo>
                      <a:pt x="216" y="358"/>
                      <a:pt x="225" y="352"/>
                      <a:pt x="225" y="341"/>
                    </a:cubicBezTo>
                    <a:cubicBezTo>
                      <a:pt x="225" y="286"/>
                      <a:pt x="225" y="286"/>
                      <a:pt x="225" y="286"/>
                    </a:cubicBezTo>
                    <a:cubicBezTo>
                      <a:pt x="225" y="282"/>
                      <a:pt x="225" y="278"/>
                      <a:pt x="224" y="275"/>
                    </a:cubicBezTo>
                    <a:cubicBezTo>
                      <a:pt x="233" y="274"/>
                      <a:pt x="246" y="273"/>
                      <a:pt x="260" y="272"/>
                    </a:cubicBezTo>
                    <a:cubicBezTo>
                      <a:pt x="259" y="277"/>
                      <a:pt x="258" y="281"/>
                      <a:pt x="258" y="286"/>
                    </a:cubicBezTo>
                    <a:cubicBezTo>
                      <a:pt x="258" y="341"/>
                      <a:pt x="258" y="341"/>
                      <a:pt x="258" y="341"/>
                    </a:cubicBezTo>
                    <a:cubicBezTo>
                      <a:pt x="258" y="349"/>
                      <a:pt x="264" y="358"/>
                      <a:pt x="276" y="358"/>
                    </a:cubicBezTo>
                    <a:cubicBezTo>
                      <a:pt x="394" y="358"/>
                      <a:pt x="394" y="358"/>
                      <a:pt x="394" y="358"/>
                    </a:cubicBezTo>
                    <a:cubicBezTo>
                      <a:pt x="402" y="358"/>
                      <a:pt x="411" y="352"/>
                      <a:pt x="411" y="341"/>
                    </a:cubicBezTo>
                    <a:cubicBezTo>
                      <a:pt x="411" y="286"/>
                      <a:pt x="411" y="286"/>
                      <a:pt x="411" y="286"/>
                    </a:cubicBezTo>
                    <a:cubicBezTo>
                      <a:pt x="411" y="281"/>
                      <a:pt x="410" y="277"/>
                      <a:pt x="409" y="272"/>
                    </a:cubicBezTo>
                    <a:cubicBezTo>
                      <a:pt x="424" y="273"/>
                      <a:pt x="437" y="274"/>
                      <a:pt x="446" y="275"/>
                    </a:cubicBezTo>
                    <a:cubicBezTo>
                      <a:pt x="445" y="279"/>
                      <a:pt x="444" y="283"/>
                      <a:pt x="444" y="288"/>
                    </a:cubicBezTo>
                    <a:cubicBezTo>
                      <a:pt x="444" y="342"/>
                      <a:pt x="444" y="342"/>
                      <a:pt x="444" y="342"/>
                    </a:cubicBezTo>
                    <a:cubicBezTo>
                      <a:pt x="444" y="351"/>
                      <a:pt x="450" y="360"/>
                      <a:pt x="462" y="360"/>
                    </a:cubicBezTo>
                    <a:cubicBezTo>
                      <a:pt x="580" y="360"/>
                      <a:pt x="580" y="360"/>
                      <a:pt x="580" y="360"/>
                    </a:cubicBezTo>
                    <a:cubicBezTo>
                      <a:pt x="588" y="360"/>
                      <a:pt x="597" y="354"/>
                      <a:pt x="597" y="342"/>
                    </a:cubicBezTo>
                    <a:cubicBezTo>
                      <a:pt x="597" y="298"/>
                      <a:pt x="597" y="298"/>
                      <a:pt x="597" y="298"/>
                    </a:cubicBezTo>
                    <a:cubicBezTo>
                      <a:pt x="603" y="299"/>
                      <a:pt x="608" y="300"/>
                      <a:pt x="612" y="301"/>
                    </a:cubicBezTo>
                    <a:cubicBezTo>
                      <a:pt x="626" y="304"/>
                      <a:pt x="633" y="306"/>
                      <a:pt x="640" y="306"/>
                    </a:cubicBezTo>
                    <a:cubicBezTo>
                      <a:pt x="658" y="306"/>
                      <a:pt x="671" y="293"/>
                      <a:pt x="671" y="275"/>
                    </a:cubicBezTo>
                    <a:cubicBezTo>
                      <a:pt x="671" y="112"/>
                      <a:pt x="671" y="112"/>
                      <a:pt x="671" y="112"/>
                    </a:cubicBezTo>
                    <a:cubicBezTo>
                      <a:pt x="671" y="107"/>
                      <a:pt x="667" y="104"/>
                      <a:pt x="663" y="104"/>
                    </a:cubicBezTo>
                    <a:cubicBezTo>
                      <a:pt x="658" y="104"/>
                      <a:pt x="655" y="107"/>
                      <a:pt x="655" y="112"/>
                    </a:cubicBezTo>
                    <a:cubicBezTo>
                      <a:pt x="655" y="275"/>
                      <a:pt x="655" y="275"/>
                      <a:pt x="655" y="275"/>
                    </a:cubicBezTo>
                    <a:cubicBezTo>
                      <a:pt x="655" y="280"/>
                      <a:pt x="653" y="290"/>
                      <a:pt x="640" y="290"/>
                    </a:cubicBezTo>
                    <a:cubicBezTo>
                      <a:pt x="635" y="290"/>
                      <a:pt x="628" y="288"/>
                      <a:pt x="615" y="285"/>
                    </a:cubicBezTo>
                    <a:cubicBezTo>
                      <a:pt x="610" y="284"/>
                      <a:pt x="604" y="283"/>
                      <a:pt x="597" y="281"/>
                    </a:cubicBezTo>
                    <a:cubicBezTo>
                      <a:pt x="594" y="258"/>
                      <a:pt x="579" y="243"/>
                      <a:pt x="565" y="235"/>
                    </a:cubicBezTo>
                    <a:cubicBezTo>
                      <a:pt x="576" y="223"/>
                      <a:pt x="583" y="208"/>
                      <a:pt x="583" y="191"/>
                    </a:cubicBezTo>
                    <a:cubicBezTo>
                      <a:pt x="583" y="157"/>
                      <a:pt x="555" y="129"/>
                      <a:pt x="521" y="129"/>
                    </a:cubicBezTo>
                    <a:cubicBezTo>
                      <a:pt x="486" y="129"/>
                      <a:pt x="458" y="157"/>
                      <a:pt x="458" y="191"/>
                    </a:cubicBezTo>
                    <a:cubicBezTo>
                      <a:pt x="458" y="208"/>
                      <a:pt x="465" y="223"/>
                      <a:pt x="476" y="235"/>
                    </a:cubicBezTo>
                    <a:cubicBezTo>
                      <a:pt x="467" y="240"/>
                      <a:pt x="458" y="248"/>
                      <a:pt x="452" y="259"/>
                    </a:cubicBezTo>
                    <a:cubicBezTo>
                      <a:pt x="443" y="258"/>
                      <a:pt x="423" y="257"/>
                      <a:pt x="403" y="256"/>
                    </a:cubicBezTo>
                    <a:cubicBezTo>
                      <a:pt x="397" y="246"/>
                      <a:pt x="388" y="238"/>
                      <a:pt x="380" y="233"/>
                    </a:cubicBezTo>
                    <a:cubicBezTo>
                      <a:pt x="391" y="222"/>
                      <a:pt x="397" y="207"/>
                      <a:pt x="397" y="190"/>
                    </a:cubicBezTo>
                    <a:cubicBezTo>
                      <a:pt x="397" y="155"/>
                      <a:pt x="369" y="127"/>
                      <a:pt x="335" y="127"/>
                    </a:cubicBezTo>
                    <a:cubicBezTo>
                      <a:pt x="300" y="127"/>
                      <a:pt x="272" y="155"/>
                      <a:pt x="272" y="190"/>
                    </a:cubicBezTo>
                    <a:cubicBezTo>
                      <a:pt x="272" y="207"/>
                      <a:pt x="279" y="222"/>
                      <a:pt x="290" y="233"/>
                    </a:cubicBezTo>
                    <a:cubicBezTo>
                      <a:pt x="282" y="238"/>
                      <a:pt x="273" y="246"/>
                      <a:pt x="266" y="256"/>
                    </a:cubicBezTo>
                    <a:cubicBezTo>
                      <a:pt x="247" y="257"/>
                      <a:pt x="228" y="258"/>
                      <a:pt x="219" y="259"/>
                    </a:cubicBezTo>
                    <a:cubicBezTo>
                      <a:pt x="212" y="247"/>
                      <a:pt x="203" y="239"/>
                      <a:pt x="194" y="233"/>
                    </a:cubicBezTo>
                    <a:cubicBezTo>
                      <a:pt x="205" y="222"/>
                      <a:pt x="211" y="206"/>
                      <a:pt x="211" y="190"/>
                    </a:cubicBezTo>
                    <a:cubicBezTo>
                      <a:pt x="211" y="155"/>
                      <a:pt x="183" y="127"/>
                      <a:pt x="149" y="127"/>
                    </a:cubicBezTo>
                    <a:cubicBezTo>
                      <a:pt x="114" y="127"/>
                      <a:pt x="86" y="155"/>
                      <a:pt x="86" y="190"/>
                    </a:cubicBezTo>
                    <a:cubicBezTo>
                      <a:pt x="86" y="207"/>
                      <a:pt x="93" y="222"/>
                      <a:pt x="104" y="233"/>
                    </a:cubicBezTo>
                    <a:cubicBezTo>
                      <a:pt x="90" y="242"/>
                      <a:pt x="75" y="257"/>
                      <a:pt x="73" y="281"/>
                    </a:cubicBezTo>
                    <a:cubicBezTo>
                      <a:pt x="63" y="283"/>
                      <a:pt x="56" y="285"/>
                      <a:pt x="50" y="286"/>
                    </a:cubicBezTo>
                    <a:cubicBezTo>
                      <a:pt x="40" y="288"/>
                      <a:pt x="34" y="290"/>
                      <a:pt x="30" y="290"/>
                    </a:cubicBezTo>
                    <a:cubicBezTo>
                      <a:pt x="20" y="290"/>
                      <a:pt x="16" y="282"/>
                      <a:pt x="16" y="275"/>
                    </a:cubicBezTo>
                    <a:cubicBezTo>
                      <a:pt x="16" y="68"/>
                      <a:pt x="16" y="68"/>
                      <a:pt x="16" y="68"/>
                    </a:cubicBezTo>
                    <a:cubicBezTo>
                      <a:pt x="16" y="64"/>
                      <a:pt x="18" y="58"/>
                      <a:pt x="33" y="53"/>
                    </a:cubicBezTo>
                    <a:cubicBezTo>
                      <a:pt x="33" y="53"/>
                      <a:pt x="33" y="53"/>
                      <a:pt x="33" y="53"/>
                    </a:cubicBezTo>
                    <a:cubicBezTo>
                      <a:pt x="34" y="53"/>
                      <a:pt x="129" y="16"/>
                      <a:pt x="339" y="16"/>
                    </a:cubicBezTo>
                    <a:cubicBezTo>
                      <a:pt x="548" y="16"/>
                      <a:pt x="636" y="53"/>
                      <a:pt x="637" y="53"/>
                    </a:cubicBezTo>
                    <a:cubicBezTo>
                      <a:pt x="637" y="53"/>
                      <a:pt x="637" y="53"/>
                      <a:pt x="638" y="53"/>
                    </a:cubicBezTo>
                    <a:cubicBezTo>
                      <a:pt x="653" y="58"/>
                      <a:pt x="655" y="64"/>
                      <a:pt x="655" y="68"/>
                    </a:cubicBezTo>
                    <a:cubicBezTo>
                      <a:pt x="655" y="80"/>
                      <a:pt x="655" y="80"/>
                      <a:pt x="655" y="80"/>
                    </a:cubicBezTo>
                    <a:cubicBezTo>
                      <a:pt x="655" y="85"/>
                      <a:pt x="658" y="88"/>
                      <a:pt x="663" y="88"/>
                    </a:cubicBezTo>
                    <a:close/>
                    <a:moveTo>
                      <a:pt x="474" y="191"/>
                    </a:moveTo>
                    <a:cubicBezTo>
                      <a:pt x="474" y="166"/>
                      <a:pt x="495" y="145"/>
                      <a:pt x="521" y="145"/>
                    </a:cubicBezTo>
                    <a:cubicBezTo>
                      <a:pt x="546" y="145"/>
                      <a:pt x="567" y="166"/>
                      <a:pt x="567" y="191"/>
                    </a:cubicBezTo>
                    <a:cubicBezTo>
                      <a:pt x="567" y="217"/>
                      <a:pt x="546" y="238"/>
                      <a:pt x="521" y="238"/>
                    </a:cubicBezTo>
                    <a:cubicBezTo>
                      <a:pt x="495" y="238"/>
                      <a:pt x="474" y="217"/>
                      <a:pt x="474" y="191"/>
                    </a:cubicBezTo>
                    <a:close/>
                    <a:moveTo>
                      <a:pt x="460" y="288"/>
                    </a:moveTo>
                    <a:cubicBezTo>
                      <a:pt x="460" y="265"/>
                      <a:pt x="477" y="252"/>
                      <a:pt x="489" y="245"/>
                    </a:cubicBezTo>
                    <a:cubicBezTo>
                      <a:pt x="499" y="251"/>
                      <a:pt x="509" y="254"/>
                      <a:pt x="521" y="254"/>
                    </a:cubicBezTo>
                    <a:cubicBezTo>
                      <a:pt x="532" y="254"/>
                      <a:pt x="543" y="251"/>
                      <a:pt x="552" y="245"/>
                    </a:cubicBezTo>
                    <a:cubicBezTo>
                      <a:pt x="564" y="252"/>
                      <a:pt x="581" y="265"/>
                      <a:pt x="581" y="288"/>
                    </a:cubicBezTo>
                    <a:cubicBezTo>
                      <a:pt x="581" y="342"/>
                      <a:pt x="581" y="342"/>
                      <a:pt x="581" y="342"/>
                    </a:cubicBezTo>
                    <a:cubicBezTo>
                      <a:pt x="581" y="343"/>
                      <a:pt x="581" y="343"/>
                      <a:pt x="581" y="343"/>
                    </a:cubicBezTo>
                    <a:cubicBezTo>
                      <a:pt x="581" y="343"/>
                      <a:pt x="580" y="344"/>
                      <a:pt x="580" y="344"/>
                    </a:cubicBezTo>
                    <a:cubicBezTo>
                      <a:pt x="565" y="344"/>
                      <a:pt x="565" y="344"/>
                      <a:pt x="565" y="344"/>
                    </a:cubicBezTo>
                    <a:cubicBezTo>
                      <a:pt x="565" y="287"/>
                      <a:pt x="565" y="287"/>
                      <a:pt x="565" y="287"/>
                    </a:cubicBezTo>
                    <a:cubicBezTo>
                      <a:pt x="565" y="283"/>
                      <a:pt x="561" y="279"/>
                      <a:pt x="557" y="279"/>
                    </a:cubicBezTo>
                    <a:cubicBezTo>
                      <a:pt x="552" y="279"/>
                      <a:pt x="549" y="283"/>
                      <a:pt x="549" y="287"/>
                    </a:cubicBezTo>
                    <a:cubicBezTo>
                      <a:pt x="549" y="344"/>
                      <a:pt x="549" y="344"/>
                      <a:pt x="549" y="344"/>
                    </a:cubicBezTo>
                    <a:cubicBezTo>
                      <a:pt x="492" y="344"/>
                      <a:pt x="492" y="344"/>
                      <a:pt x="492" y="344"/>
                    </a:cubicBezTo>
                    <a:cubicBezTo>
                      <a:pt x="492" y="287"/>
                      <a:pt x="492" y="287"/>
                      <a:pt x="492" y="287"/>
                    </a:cubicBezTo>
                    <a:cubicBezTo>
                      <a:pt x="492" y="283"/>
                      <a:pt x="489" y="279"/>
                      <a:pt x="484" y="279"/>
                    </a:cubicBezTo>
                    <a:cubicBezTo>
                      <a:pt x="480" y="279"/>
                      <a:pt x="476" y="283"/>
                      <a:pt x="476" y="287"/>
                    </a:cubicBezTo>
                    <a:cubicBezTo>
                      <a:pt x="476" y="344"/>
                      <a:pt x="476" y="344"/>
                      <a:pt x="476" y="344"/>
                    </a:cubicBezTo>
                    <a:cubicBezTo>
                      <a:pt x="462" y="344"/>
                      <a:pt x="462" y="344"/>
                      <a:pt x="462" y="344"/>
                    </a:cubicBezTo>
                    <a:cubicBezTo>
                      <a:pt x="461" y="344"/>
                      <a:pt x="461" y="344"/>
                      <a:pt x="461" y="344"/>
                    </a:cubicBezTo>
                    <a:cubicBezTo>
                      <a:pt x="461" y="343"/>
                      <a:pt x="460" y="343"/>
                      <a:pt x="460" y="342"/>
                    </a:cubicBezTo>
                    <a:lnTo>
                      <a:pt x="460" y="288"/>
                    </a:lnTo>
                    <a:close/>
                    <a:moveTo>
                      <a:pt x="288" y="190"/>
                    </a:moveTo>
                    <a:cubicBezTo>
                      <a:pt x="288" y="164"/>
                      <a:pt x="309" y="143"/>
                      <a:pt x="335" y="143"/>
                    </a:cubicBezTo>
                    <a:cubicBezTo>
                      <a:pt x="360" y="143"/>
                      <a:pt x="381" y="164"/>
                      <a:pt x="381" y="190"/>
                    </a:cubicBezTo>
                    <a:cubicBezTo>
                      <a:pt x="381" y="215"/>
                      <a:pt x="360" y="236"/>
                      <a:pt x="335" y="236"/>
                    </a:cubicBezTo>
                    <a:cubicBezTo>
                      <a:pt x="309" y="236"/>
                      <a:pt x="288" y="215"/>
                      <a:pt x="288" y="190"/>
                    </a:cubicBezTo>
                    <a:close/>
                    <a:moveTo>
                      <a:pt x="274" y="286"/>
                    </a:moveTo>
                    <a:cubicBezTo>
                      <a:pt x="274" y="263"/>
                      <a:pt x="291" y="250"/>
                      <a:pt x="303" y="244"/>
                    </a:cubicBezTo>
                    <a:cubicBezTo>
                      <a:pt x="313" y="249"/>
                      <a:pt x="323" y="252"/>
                      <a:pt x="335" y="252"/>
                    </a:cubicBezTo>
                    <a:cubicBezTo>
                      <a:pt x="346" y="252"/>
                      <a:pt x="357" y="249"/>
                      <a:pt x="366" y="244"/>
                    </a:cubicBezTo>
                    <a:cubicBezTo>
                      <a:pt x="378" y="250"/>
                      <a:pt x="395" y="263"/>
                      <a:pt x="395" y="286"/>
                    </a:cubicBezTo>
                    <a:cubicBezTo>
                      <a:pt x="395" y="341"/>
                      <a:pt x="395" y="341"/>
                      <a:pt x="395" y="341"/>
                    </a:cubicBezTo>
                    <a:cubicBezTo>
                      <a:pt x="395" y="341"/>
                      <a:pt x="395" y="342"/>
                      <a:pt x="395" y="342"/>
                    </a:cubicBezTo>
                    <a:cubicBezTo>
                      <a:pt x="395" y="342"/>
                      <a:pt x="394" y="342"/>
                      <a:pt x="394" y="342"/>
                    </a:cubicBezTo>
                    <a:cubicBezTo>
                      <a:pt x="379" y="342"/>
                      <a:pt x="379" y="342"/>
                      <a:pt x="379" y="342"/>
                    </a:cubicBezTo>
                    <a:cubicBezTo>
                      <a:pt x="379" y="286"/>
                      <a:pt x="379" y="286"/>
                      <a:pt x="379" y="286"/>
                    </a:cubicBezTo>
                    <a:cubicBezTo>
                      <a:pt x="379" y="281"/>
                      <a:pt x="375" y="278"/>
                      <a:pt x="371" y="278"/>
                    </a:cubicBezTo>
                    <a:cubicBezTo>
                      <a:pt x="366" y="278"/>
                      <a:pt x="363" y="281"/>
                      <a:pt x="363" y="286"/>
                    </a:cubicBezTo>
                    <a:cubicBezTo>
                      <a:pt x="363" y="342"/>
                      <a:pt x="363" y="342"/>
                      <a:pt x="363" y="342"/>
                    </a:cubicBezTo>
                    <a:cubicBezTo>
                      <a:pt x="306" y="342"/>
                      <a:pt x="306" y="342"/>
                      <a:pt x="306" y="342"/>
                    </a:cubicBezTo>
                    <a:cubicBezTo>
                      <a:pt x="306" y="286"/>
                      <a:pt x="306" y="286"/>
                      <a:pt x="306" y="286"/>
                    </a:cubicBezTo>
                    <a:cubicBezTo>
                      <a:pt x="306" y="281"/>
                      <a:pt x="303" y="278"/>
                      <a:pt x="298" y="278"/>
                    </a:cubicBezTo>
                    <a:cubicBezTo>
                      <a:pt x="294" y="278"/>
                      <a:pt x="290" y="281"/>
                      <a:pt x="290" y="286"/>
                    </a:cubicBezTo>
                    <a:cubicBezTo>
                      <a:pt x="290" y="342"/>
                      <a:pt x="290" y="342"/>
                      <a:pt x="290" y="342"/>
                    </a:cubicBezTo>
                    <a:cubicBezTo>
                      <a:pt x="276" y="342"/>
                      <a:pt x="276" y="342"/>
                      <a:pt x="276" y="342"/>
                    </a:cubicBezTo>
                    <a:cubicBezTo>
                      <a:pt x="275" y="342"/>
                      <a:pt x="275" y="342"/>
                      <a:pt x="275" y="342"/>
                    </a:cubicBezTo>
                    <a:cubicBezTo>
                      <a:pt x="275" y="342"/>
                      <a:pt x="274" y="341"/>
                      <a:pt x="274" y="341"/>
                    </a:cubicBezTo>
                    <a:lnTo>
                      <a:pt x="274" y="286"/>
                    </a:lnTo>
                    <a:close/>
                    <a:moveTo>
                      <a:pt x="102" y="190"/>
                    </a:moveTo>
                    <a:cubicBezTo>
                      <a:pt x="102" y="164"/>
                      <a:pt x="123" y="143"/>
                      <a:pt x="149" y="143"/>
                    </a:cubicBezTo>
                    <a:cubicBezTo>
                      <a:pt x="174" y="143"/>
                      <a:pt x="195" y="164"/>
                      <a:pt x="195" y="190"/>
                    </a:cubicBezTo>
                    <a:cubicBezTo>
                      <a:pt x="195" y="215"/>
                      <a:pt x="174" y="236"/>
                      <a:pt x="149" y="236"/>
                    </a:cubicBezTo>
                    <a:cubicBezTo>
                      <a:pt x="123" y="236"/>
                      <a:pt x="102" y="215"/>
                      <a:pt x="102" y="190"/>
                    </a:cubicBezTo>
                    <a:close/>
                    <a:moveTo>
                      <a:pt x="88" y="286"/>
                    </a:moveTo>
                    <a:cubicBezTo>
                      <a:pt x="88" y="263"/>
                      <a:pt x="105" y="250"/>
                      <a:pt x="118" y="244"/>
                    </a:cubicBezTo>
                    <a:cubicBezTo>
                      <a:pt x="127" y="249"/>
                      <a:pt x="137" y="252"/>
                      <a:pt x="149" y="252"/>
                    </a:cubicBezTo>
                    <a:cubicBezTo>
                      <a:pt x="160" y="252"/>
                      <a:pt x="171" y="249"/>
                      <a:pt x="180" y="244"/>
                    </a:cubicBezTo>
                    <a:cubicBezTo>
                      <a:pt x="192" y="250"/>
                      <a:pt x="209" y="263"/>
                      <a:pt x="209" y="286"/>
                    </a:cubicBezTo>
                    <a:cubicBezTo>
                      <a:pt x="209" y="341"/>
                      <a:pt x="209" y="341"/>
                      <a:pt x="209" y="341"/>
                    </a:cubicBezTo>
                    <a:cubicBezTo>
                      <a:pt x="209" y="341"/>
                      <a:pt x="209" y="342"/>
                      <a:pt x="209" y="342"/>
                    </a:cubicBezTo>
                    <a:cubicBezTo>
                      <a:pt x="209" y="342"/>
                      <a:pt x="208" y="342"/>
                      <a:pt x="208" y="342"/>
                    </a:cubicBezTo>
                    <a:cubicBezTo>
                      <a:pt x="193" y="342"/>
                      <a:pt x="193" y="342"/>
                      <a:pt x="193" y="342"/>
                    </a:cubicBezTo>
                    <a:cubicBezTo>
                      <a:pt x="193" y="286"/>
                      <a:pt x="193" y="286"/>
                      <a:pt x="193" y="286"/>
                    </a:cubicBezTo>
                    <a:cubicBezTo>
                      <a:pt x="193" y="281"/>
                      <a:pt x="189" y="278"/>
                      <a:pt x="185" y="278"/>
                    </a:cubicBezTo>
                    <a:cubicBezTo>
                      <a:pt x="181" y="278"/>
                      <a:pt x="177" y="281"/>
                      <a:pt x="177" y="286"/>
                    </a:cubicBezTo>
                    <a:cubicBezTo>
                      <a:pt x="177" y="342"/>
                      <a:pt x="177" y="342"/>
                      <a:pt x="177" y="342"/>
                    </a:cubicBezTo>
                    <a:cubicBezTo>
                      <a:pt x="121" y="342"/>
                      <a:pt x="121" y="342"/>
                      <a:pt x="121" y="342"/>
                    </a:cubicBezTo>
                    <a:cubicBezTo>
                      <a:pt x="121" y="286"/>
                      <a:pt x="121" y="286"/>
                      <a:pt x="121" y="286"/>
                    </a:cubicBezTo>
                    <a:cubicBezTo>
                      <a:pt x="121" y="281"/>
                      <a:pt x="117" y="278"/>
                      <a:pt x="113" y="278"/>
                    </a:cubicBezTo>
                    <a:cubicBezTo>
                      <a:pt x="108" y="278"/>
                      <a:pt x="105" y="281"/>
                      <a:pt x="105" y="286"/>
                    </a:cubicBezTo>
                    <a:cubicBezTo>
                      <a:pt x="105" y="342"/>
                      <a:pt x="105" y="342"/>
                      <a:pt x="105" y="342"/>
                    </a:cubicBezTo>
                    <a:cubicBezTo>
                      <a:pt x="90" y="342"/>
                      <a:pt x="90" y="342"/>
                      <a:pt x="90" y="342"/>
                    </a:cubicBezTo>
                    <a:cubicBezTo>
                      <a:pt x="89" y="342"/>
                      <a:pt x="89" y="342"/>
                      <a:pt x="89" y="342"/>
                    </a:cubicBezTo>
                    <a:cubicBezTo>
                      <a:pt x="89" y="342"/>
                      <a:pt x="89" y="341"/>
                      <a:pt x="88" y="341"/>
                    </a:cubicBezTo>
                    <a:lnTo>
                      <a:pt x="88" y="28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8585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3" name="Freeform 3">
                <a:extLst>
                  <a:ext uri="{FF2B5EF4-FFF2-40B4-BE49-F238E27FC236}">
                    <a16:creationId xmlns="" xmlns:a16="http://schemas.microsoft.com/office/drawing/2014/main" id="{083072B8-8174-4D8D-9948-9FC3D022A698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0123522" y="1514849"/>
                <a:ext cx="487195" cy="388201"/>
              </a:xfrm>
              <a:custGeom>
                <a:avLst/>
                <a:gdLst>
                  <a:gd name="T0" fmla="*/ 2147483647 w 418"/>
                  <a:gd name="T1" fmla="*/ 2147483647 h 333"/>
                  <a:gd name="T2" fmla="*/ 2147483647 w 418"/>
                  <a:gd name="T3" fmla="*/ 2147483647 h 333"/>
                  <a:gd name="T4" fmla="*/ 2147483647 w 418"/>
                  <a:gd name="T5" fmla="*/ 0 h 333"/>
                  <a:gd name="T6" fmla="*/ 0 w 418"/>
                  <a:gd name="T7" fmla="*/ 2147483647 h 333"/>
                  <a:gd name="T8" fmla="*/ 2147483647 w 418"/>
                  <a:gd name="T9" fmla="*/ 2147483647 h 333"/>
                  <a:gd name="T10" fmla="*/ 2147483647 w 418"/>
                  <a:gd name="T11" fmla="*/ 2147483647 h 333"/>
                  <a:gd name="T12" fmla="*/ 2147483647 w 418"/>
                  <a:gd name="T13" fmla="*/ 2147483647 h 333"/>
                  <a:gd name="T14" fmla="*/ 2147483647 w 418"/>
                  <a:gd name="T15" fmla="*/ 2147483647 h 333"/>
                  <a:gd name="T16" fmla="*/ 2147483647 w 418"/>
                  <a:gd name="T17" fmla="*/ 2147483647 h 333"/>
                  <a:gd name="T18" fmla="*/ 2147483647 w 418"/>
                  <a:gd name="T19" fmla="*/ 2147483647 h 333"/>
                  <a:gd name="T20" fmla="*/ 2147483647 w 418"/>
                  <a:gd name="T21" fmla="*/ 2147483647 h 333"/>
                  <a:gd name="T22" fmla="*/ 2147483647 w 418"/>
                  <a:gd name="T23" fmla="*/ 2147483647 h 333"/>
                  <a:gd name="T24" fmla="*/ 2147483647 w 418"/>
                  <a:gd name="T25" fmla="*/ 2147483647 h 333"/>
                  <a:gd name="T26" fmla="*/ 2147483647 w 418"/>
                  <a:gd name="T27" fmla="*/ 2147483647 h 333"/>
                  <a:gd name="T28" fmla="*/ 2147483647 w 418"/>
                  <a:gd name="T29" fmla="*/ 2147483647 h 333"/>
                  <a:gd name="T30" fmla="*/ 2147483647 w 418"/>
                  <a:gd name="T31" fmla="*/ 2147483647 h 333"/>
                  <a:gd name="T32" fmla="*/ 2147483647 w 418"/>
                  <a:gd name="T33" fmla="*/ 2147483647 h 333"/>
                  <a:gd name="T34" fmla="*/ 2147483647 w 418"/>
                  <a:gd name="T35" fmla="*/ 2147483647 h 333"/>
                  <a:gd name="T36" fmla="*/ 2147483647 w 418"/>
                  <a:gd name="T37" fmla="*/ 2147483647 h 333"/>
                  <a:gd name="T38" fmla="*/ 2147483647 w 418"/>
                  <a:gd name="T39" fmla="*/ 2147483647 h 333"/>
                  <a:gd name="T40" fmla="*/ 2147483647 w 418"/>
                  <a:gd name="T41" fmla="*/ 2147483647 h 333"/>
                  <a:gd name="T42" fmla="*/ 2147483647 w 418"/>
                  <a:gd name="T43" fmla="*/ 2147483647 h 333"/>
                  <a:gd name="T44" fmla="*/ 2147483647 w 418"/>
                  <a:gd name="T45" fmla="*/ 2147483647 h 333"/>
                  <a:gd name="T46" fmla="*/ 2147483647 w 418"/>
                  <a:gd name="T47" fmla="*/ 2147483647 h 333"/>
                  <a:gd name="T48" fmla="*/ 2147483647 w 418"/>
                  <a:gd name="T49" fmla="*/ 2147483647 h 333"/>
                  <a:gd name="T50" fmla="*/ 2147483647 w 418"/>
                  <a:gd name="T51" fmla="*/ 2147483647 h 333"/>
                  <a:gd name="T52" fmla="*/ 2147483647 w 418"/>
                  <a:gd name="T53" fmla="*/ 2147483647 h 333"/>
                  <a:gd name="T54" fmla="*/ 2147483647 w 418"/>
                  <a:gd name="T55" fmla="*/ 2147483647 h 333"/>
                  <a:gd name="T56" fmla="*/ 2147483647 w 418"/>
                  <a:gd name="T57" fmla="*/ 2147483647 h 333"/>
                  <a:gd name="T58" fmla="*/ 2147483647 w 418"/>
                  <a:gd name="T59" fmla="*/ 2147483647 h 333"/>
                  <a:gd name="T60" fmla="*/ 2147483647 w 418"/>
                  <a:gd name="T61" fmla="*/ 2147483647 h 333"/>
                  <a:gd name="T62" fmla="*/ 2147483647 w 418"/>
                  <a:gd name="T63" fmla="*/ 2147483647 h 333"/>
                  <a:gd name="T64" fmla="*/ 2147483647 w 418"/>
                  <a:gd name="T65" fmla="*/ 2147483647 h 333"/>
                  <a:gd name="T66" fmla="*/ 2147483647 w 418"/>
                  <a:gd name="T67" fmla="*/ 2147483647 h 333"/>
                  <a:gd name="T68" fmla="*/ 2147483647 w 418"/>
                  <a:gd name="T69" fmla="*/ 2147483647 h 333"/>
                  <a:gd name="T70" fmla="*/ 2147483647 w 418"/>
                  <a:gd name="T71" fmla="*/ 2147483647 h 333"/>
                  <a:gd name="T72" fmla="*/ 2147483647 w 418"/>
                  <a:gd name="T73" fmla="*/ 2147483647 h 333"/>
                  <a:gd name="T74" fmla="*/ 2147483647 w 418"/>
                  <a:gd name="T75" fmla="*/ 2147483647 h 333"/>
                  <a:gd name="T76" fmla="*/ 2147483647 w 418"/>
                  <a:gd name="T77" fmla="*/ 2147483647 h 333"/>
                  <a:gd name="T78" fmla="*/ 2147483647 w 418"/>
                  <a:gd name="T79" fmla="*/ 2147483647 h 333"/>
                  <a:gd name="T80" fmla="*/ 2147483647 w 418"/>
                  <a:gd name="T81" fmla="*/ 2147483647 h 333"/>
                  <a:gd name="T82" fmla="*/ 2147483647 w 418"/>
                  <a:gd name="T83" fmla="*/ 2147483647 h 333"/>
                  <a:gd name="T84" fmla="*/ 2147483647 w 418"/>
                  <a:gd name="T85" fmla="*/ 2147483647 h 333"/>
                  <a:gd name="T86" fmla="*/ 2147483647 w 418"/>
                  <a:gd name="T87" fmla="*/ 2147483647 h 333"/>
                  <a:gd name="T88" fmla="*/ 2147483647 w 418"/>
                  <a:gd name="T89" fmla="*/ 2147483647 h 333"/>
                  <a:gd name="T90" fmla="*/ 2147483647 w 418"/>
                  <a:gd name="T91" fmla="*/ 2147483647 h 333"/>
                  <a:gd name="T92" fmla="*/ 2147483647 w 418"/>
                  <a:gd name="T93" fmla="*/ 2147483647 h 333"/>
                  <a:gd name="T94" fmla="*/ 2147483647 w 418"/>
                  <a:gd name="T95" fmla="*/ 2147483647 h 333"/>
                  <a:gd name="T96" fmla="*/ 2147483647 w 418"/>
                  <a:gd name="T97" fmla="*/ 2147483647 h 333"/>
                  <a:gd name="T98" fmla="*/ 2147483647 w 418"/>
                  <a:gd name="T99" fmla="*/ 2147483647 h 333"/>
                  <a:gd name="T100" fmla="*/ 2147483647 w 418"/>
                  <a:gd name="T101" fmla="*/ 2147483647 h 333"/>
                  <a:gd name="T102" fmla="*/ 2147483647 w 418"/>
                  <a:gd name="T103" fmla="*/ 2147483647 h 333"/>
                  <a:gd name="T104" fmla="*/ 2147483647 w 418"/>
                  <a:gd name="T105" fmla="*/ 2147483647 h 333"/>
                  <a:gd name="T106" fmla="*/ 2147483647 w 418"/>
                  <a:gd name="T107" fmla="*/ 2147483647 h 333"/>
                  <a:gd name="T108" fmla="*/ 2147483647 w 418"/>
                  <a:gd name="T109" fmla="*/ 2147483647 h 333"/>
                  <a:gd name="T110" fmla="*/ 2147483647 w 418"/>
                  <a:gd name="T111" fmla="*/ 2147483647 h 333"/>
                  <a:gd name="T112" fmla="*/ 2147483647 w 418"/>
                  <a:gd name="T113" fmla="*/ 2147483647 h 333"/>
                  <a:gd name="T114" fmla="*/ 2147483647 w 418"/>
                  <a:gd name="T115" fmla="*/ 2147483647 h 333"/>
                  <a:gd name="T116" fmla="*/ 2147483647 w 418"/>
                  <a:gd name="T117" fmla="*/ 2147483647 h 333"/>
                  <a:gd name="T118" fmla="*/ 2147483647 w 418"/>
                  <a:gd name="T119" fmla="*/ 2147483647 h 333"/>
                  <a:gd name="T120" fmla="*/ 2147483647 w 418"/>
                  <a:gd name="T121" fmla="*/ 2147483647 h 333"/>
                  <a:gd name="T122" fmla="*/ 2147483647 w 418"/>
                  <a:gd name="T123" fmla="*/ 2147483647 h 333"/>
                  <a:gd name="T124" fmla="*/ 2147483647 w 418"/>
                  <a:gd name="T125" fmla="*/ 2147483647 h 333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418" h="333">
                    <a:moveTo>
                      <a:pt x="402" y="94"/>
                    </a:moveTo>
                    <a:cubicBezTo>
                      <a:pt x="402" y="98"/>
                      <a:pt x="406" y="102"/>
                      <a:pt x="410" y="102"/>
                    </a:cubicBezTo>
                    <a:cubicBezTo>
                      <a:pt x="415" y="102"/>
                      <a:pt x="418" y="98"/>
                      <a:pt x="418" y="94"/>
                    </a:cubicBezTo>
                    <a:cubicBezTo>
                      <a:pt x="418" y="31"/>
                      <a:pt x="418" y="31"/>
                      <a:pt x="418" y="31"/>
                    </a:cubicBezTo>
                    <a:cubicBezTo>
                      <a:pt x="418" y="14"/>
                      <a:pt x="405" y="0"/>
                      <a:pt x="388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14" y="0"/>
                      <a:pt x="0" y="14"/>
                      <a:pt x="0" y="31"/>
                    </a:cubicBezTo>
                    <a:cubicBezTo>
                      <a:pt x="0" y="303"/>
                      <a:pt x="0" y="303"/>
                      <a:pt x="0" y="303"/>
                    </a:cubicBezTo>
                    <a:cubicBezTo>
                      <a:pt x="0" y="320"/>
                      <a:pt x="14" y="333"/>
                      <a:pt x="31" y="333"/>
                    </a:cubicBezTo>
                    <a:cubicBezTo>
                      <a:pt x="388" y="333"/>
                      <a:pt x="388" y="333"/>
                      <a:pt x="388" y="333"/>
                    </a:cubicBezTo>
                    <a:cubicBezTo>
                      <a:pt x="405" y="333"/>
                      <a:pt x="418" y="320"/>
                      <a:pt x="418" y="303"/>
                    </a:cubicBezTo>
                    <a:cubicBezTo>
                      <a:pt x="418" y="125"/>
                      <a:pt x="418" y="125"/>
                      <a:pt x="418" y="125"/>
                    </a:cubicBezTo>
                    <a:cubicBezTo>
                      <a:pt x="418" y="121"/>
                      <a:pt x="415" y="117"/>
                      <a:pt x="410" y="117"/>
                    </a:cubicBezTo>
                    <a:cubicBezTo>
                      <a:pt x="406" y="117"/>
                      <a:pt x="402" y="121"/>
                      <a:pt x="402" y="125"/>
                    </a:cubicBezTo>
                    <a:cubicBezTo>
                      <a:pt x="402" y="264"/>
                      <a:pt x="402" y="264"/>
                      <a:pt x="402" y="264"/>
                    </a:cubicBezTo>
                    <a:cubicBezTo>
                      <a:pt x="18" y="264"/>
                      <a:pt x="18" y="264"/>
                      <a:pt x="18" y="264"/>
                    </a:cubicBezTo>
                    <a:cubicBezTo>
                      <a:pt x="18" y="69"/>
                      <a:pt x="18" y="69"/>
                      <a:pt x="18" y="69"/>
                    </a:cubicBezTo>
                    <a:cubicBezTo>
                      <a:pt x="402" y="69"/>
                      <a:pt x="402" y="69"/>
                      <a:pt x="402" y="69"/>
                    </a:cubicBezTo>
                    <a:lnTo>
                      <a:pt x="402" y="94"/>
                    </a:lnTo>
                    <a:close/>
                    <a:moveTo>
                      <a:pt x="353" y="292"/>
                    </a:moveTo>
                    <a:cubicBezTo>
                      <a:pt x="353" y="286"/>
                      <a:pt x="358" y="280"/>
                      <a:pt x="365" y="280"/>
                    </a:cubicBezTo>
                    <a:cubicBezTo>
                      <a:pt x="390" y="280"/>
                      <a:pt x="390" y="280"/>
                      <a:pt x="390" y="280"/>
                    </a:cubicBezTo>
                    <a:cubicBezTo>
                      <a:pt x="397" y="280"/>
                      <a:pt x="402" y="286"/>
                      <a:pt x="402" y="292"/>
                    </a:cubicBezTo>
                    <a:cubicBezTo>
                      <a:pt x="402" y="305"/>
                      <a:pt x="402" y="305"/>
                      <a:pt x="402" y="305"/>
                    </a:cubicBezTo>
                    <a:cubicBezTo>
                      <a:pt x="402" y="312"/>
                      <a:pt x="397" y="317"/>
                      <a:pt x="390" y="317"/>
                    </a:cubicBezTo>
                    <a:cubicBezTo>
                      <a:pt x="365" y="317"/>
                      <a:pt x="365" y="317"/>
                      <a:pt x="365" y="317"/>
                    </a:cubicBezTo>
                    <a:cubicBezTo>
                      <a:pt x="358" y="317"/>
                      <a:pt x="353" y="312"/>
                      <a:pt x="353" y="305"/>
                    </a:cubicBezTo>
                    <a:lnTo>
                      <a:pt x="353" y="292"/>
                    </a:lnTo>
                    <a:close/>
                    <a:moveTo>
                      <a:pt x="286" y="292"/>
                    </a:moveTo>
                    <a:cubicBezTo>
                      <a:pt x="286" y="286"/>
                      <a:pt x="291" y="280"/>
                      <a:pt x="297" y="280"/>
                    </a:cubicBezTo>
                    <a:cubicBezTo>
                      <a:pt x="323" y="280"/>
                      <a:pt x="323" y="280"/>
                      <a:pt x="323" y="280"/>
                    </a:cubicBezTo>
                    <a:cubicBezTo>
                      <a:pt x="330" y="280"/>
                      <a:pt x="335" y="286"/>
                      <a:pt x="335" y="292"/>
                    </a:cubicBezTo>
                    <a:cubicBezTo>
                      <a:pt x="335" y="305"/>
                      <a:pt x="335" y="305"/>
                      <a:pt x="335" y="305"/>
                    </a:cubicBezTo>
                    <a:cubicBezTo>
                      <a:pt x="335" y="312"/>
                      <a:pt x="330" y="317"/>
                      <a:pt x="323" y="317"/>
                    </a:cubicBezTo>
                    <a:cubicBezTo>
                      <a:pt x="297" y="317"/>
                      <a:pt x="297" y="317"/>
                      <a:pt x="297" y="317"/>
                    </a:cubicBezTo>
                    <a:cubicBezTo>
                      <a:pt x="291" y="317"/>
                      <a:pt x="286" y="312"/>
                      <a:pt x="286" y="305"/>
                    </a:cubicBezTo>
                    <a:lnTo>
                      <a:pt x="286" y="292"/>
                    </a:lnTo>
                    <a:close/>
                    <a:moveTo>
                      <a:pt x="218" y="292"/>
                    </a:moveTo>
                    <a:cubicBezTo>
                      <a:pt x="218" y="286"/>
                      <a:pt x="224" y="280"/>
                      <a:pt x="230" y="280"/>
                    </a:cubicBezTo>
                    <a:cubicBezTo>
                      <a:pt x="256" y="280"/>
                      <a:pt x="256" y="280"/>
                      <a:pt x="256" y="280"/>
                    </a:cubicBezTo>
                    <a:cubicBezTo>
                      <a:pt x="262" y="280"/>
                      <a:pt x="268" y="286"/>
                      <a:pt x="268" y="292"/>
                    </a:cubicBezTo>
                    <a:cubicBezTo>
                      <a:pt x="268" y="305"/>
                      <a:pt x="268" y="305"/>
                      <a:pt x="268" y="305"/>
                    </a:cubicBezTo>
                    <a:cubicBezTo>
                      <a:pt x="268" y="312"/>
                      <a:pt x="262" y="317"/>
                      <a:pt x="256" y="317"/>
                    </a:cubicBezTo>
                    <a:cubicBezTo>
                      <a:pt x="230" y="317"/>
                      <a:pt x="230" y="317"/>
                      <a:pt x="230" y="317"/>
                    </a:cubicBezTo>
                    <a:cubicBezTo>
                      <a:pt x="224" y="317"/>
                      <a:pt x="218" y="312"/>
                      <a:pt x="218" y="305"/>
                    </a:cubicBezTo>
                    <a:lnTo>
                      <a:pt x="218" y="292"/>
                    </a:lnTo>
                    <a:close/>
                    <a:moveTo>
                      <a:pt x="151" y="292"/>
                    </a:moveTo>
                    <a:cubicBezTo>
                      <a:pt x="151" y="286"/>
                      <a:pt x="156" y="280"/>
                      <a:pt x="163" y="280"/>
                    </a:cubicBezTo>
                    <a:cubicBezTo>
                      <a:pt x="189" y="280"/>
                      <a:pt x="189" y="280"/>
                      <a:pt x="189" y="280"/>
                    </a:cubicBezTo>
                    <a:cubicBezTo>
                      <a:pt x="195" y="280"/>
                      <a:pt x="200" y="286"/>
                      <a:pt x="200" y="292"/>
                    </a:cubicBezTo>
                    <a:cubicBezTo>
                      <a:pt x="200" y="305"/>
                      <a:pt x="200" y="305"/>
                      <a:pt x="200" y="305"/>
                    </a:cubicBezTo>
                    <a:cubicBezTo>
                      <a:pt x="200" y="312"/>
                      <a:pt x="195" y="317"/>
                      <a:pt x="189" y="317"/>
                    </a:cubicBezTo>
                    <a:cubicBezTo>
                      <a:pt x="163" y="317"/>
                      <a:pt x="163" y="317"/>
                      <a:pt x="163" y="317"/>
                    </a:cubicBezTo>
                    <a:cubicBezTo>
                      <a:pt x="156" y="317"/>
                      <a:pt x="151" y="312"/>
                      <a:pt x="151" y="305"/>
                    </a:cubicBezTo>
                    <a:lnTo>
                      <a:pt x="151" y="292"/>
                    </a:lnTo>
                    <a:close/>
                    <a:moveTo>
                      <a:pt x="84" y="292"/>
                    </a:moveTo>
                    <a:cubicBezTo>
                      <a:pt x="84" y="286"/>
                      <a:pt x="89" y="280"/>
                      <a:pt x="96" y="280"/>
                    </a:cubicBezTo>
                    <a:cubicBezTo>
                      <a:pt x="121" y="280"/>
                      <a:pt x="121" y="280"/>
                      <a:pt x="121" y="280"/>
                    </a:cubicBezTo>
                    <a:cubicBezTo>
                      <a:pt x="128" y="280"/>
                      <a:pt x="133" y="286"/>
                      <a:pt x="133" y="292"/>
                    </a:cubicBezTo>
                    <a:cubicBezTo>
                      <a:pt x="133" y="305"/>
                      <a:pt x="133" y="305"/>
                      <a:pt x="133" y="305"/>
                    </a:cubicBezTo>
                    <a:cubicBezTo>
                      <a:pt x="133" y="312"/>
                      <a:pt x="128" y="317"/>
                      <a:pt x="121" y="317"/>
                    </a:cubicBezTo>
                    <a:cubicBezTo>
                      <a:pt x="96" y="317"/>
                      <a:pt x="96" y="317"/>
                      <a:pt x="96" y="317"/>
                    </a:cubicBezTo>
                    <a:cubicBezTo>
                      <a:pt x="89" y="317"/>
                      <a:pt x="84" y="312"/>
                      <a:pt x="84" y="305"/>
                    </a:cubicBezTo>
                    <a:lnTo>
                      <a:pt x="84" y="292"/>
                    </a:lnTo>
                    <a:close/>
                    <a:moveTo>
                      <a:pt x="28" y="280"/>
                    </a:moveTo>
                    <a:cubicBezTo>
                      <a:pt x="54" y="280"/>
                      <a:pt x="54" y="280"/>
                      <a:pt x="54" y="280"/>
                    </a:cubicBezTo>
                    <a:cubicBezTo>
                      <a:pt x="61" y="280"/>
                      <a:pt x="66" y="286"/>
                      <a:pt x="66" y="292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66" y="312"/>
                      <a:pt x="61" y="317"/>
                      <a:pt x="54" y="317"/>
                    </a:cubicBezTo>
                    <a:cubicBezTo>
                      <a:pt x="28" y="317"/>
                      <a:pt x="28" y="317"/>
                      <a:pt x="28" y="317"/>
                    </a:cubicBezTo>
                    <a:cubicBezTo>
                      <a:pt x="22" y="317"/>
                      <a:pt x="17" y="312"/>
                      <a:pt x="17" y="305"/>
                    </a:cubicBezTo>
                    <a:cubicBezTo>
                      <a:pt x="17" y="292"/>
                      <a:pt x="17" y="292"/>
                      <a:pt x="17" y="292"/>
                    </a:cubicBezTo>
                    <a:cubicBezTo>
                      <a:pt x="17" y="286"/>
                      <a:pt x="22" y="280"/>
                      <a:pt x="28" y="280"/>
                    </a:cubicBezTo>
                    <a:close/>
                    <a:moveTo>
                      <a:pt x="65" y="41"/>
                    </a:moveTo>
                    <a:cubicBezTo>
                      <a:pt x="65" y="48"/>
                      <a:pt x="60" y="53"/>
                      <a:pt x="54" y="53"/>
                    </a:cubicBezTo>
                    <a:cubicBezTo>
                      <a:pt x="28" y="53"/>
                      <a:pt x="28" y="53"/>
                      <a:pt x="28" y="53"/>
                    </a:cubicBezTo>
                    <a:cubicBezTo>
                      <a:pt x="22" y="53"/>
                      <a:pt x="16" y="48"/>
                      <a:pt x="16" y="41"/>
                    </a:cubicBezTo>
                    <a:cubicBezTo>
                      <a:pt x="16" y="28"/>
                      <a:pt x="16" y="28"/>
                      <a:pt x="16" y="28"/>
                    </a:cubicBezTo>
                    <a:cubicBezTo>
                      <a:pt x="16" y="22"/>
                      <a:pt x="22" y="17"/>
                      <a:pt x="28" y="17"/>
                    </a:cubicBezTo>
                    <a:cubicBezTo>
                      <a:pt x="54" y="17"/>
                      <a:pt x="54" y="17"/>
                      <a:pt x="54" y="17"/>
                    </a:cubicBezTo>
                    <a:cubicBezTo>
                      <a:pt x="60" y="17"/>
                      <a:pt x="65" y="22"/>
                      <a:pt x="65" y="28"/>
                    </a:cubicBezTo>
                    <a:lnTo>
                      <a:pt x="65" y="41"/>
                    </a:lnTo>
                    <a:close/>
                    <a:moveTo>
                      <a:pt x="133" y="41"/>
                    </a:moveTo>
                    <a:cubicBezTo>
                      <a:pt x="133" y="48"/>
                      <a:pt x="128" y="53"/>
                      <a:pt x="121" y="53"/>
                    </a:cubicBezTo>
                    <a:cubicBezTo>
                      <a:pt x="95" y="53"/>
                      <a:pt x="95" y="53"/>
                      <a:pt x="95" y="53"/>
                    </a:cubicBezTo>
                    <a:cubicBezTo>
                      <a:pt x="89" y="53"/>
                      <a:pt x="84" y="48"/>
                      <a:pt x="84" y="41"/>
                    </a:cubicBezTo>
                    <a:cubicBezTo>
                      <a:pt x="84" y="28"/>
                      <a:pt x="84" y="28"/>
                      <a:pt x="84" y="28"/>
                    </a:cubicBezTo>
                    <a:cubicBezTo>
                      <a:pt x="84" y="22"/>
                      <a:pt x="89" y="17"/>
                      <a:pt x="95" y="17"/>
                    </a:cubicBezTo>
                    <a:cubicBezTo>
                      <a:pt x="121" y="17"/>
                      <a:pt x="121" y="17"/>
                      <a:pt x="121" y="17"/>
                    </a:cubicBezTo>
                    <a:cubicBezTo>
                      <a:pt x="128" y="17"/>
                      <a:pt x="133" y="22"/>
                      <a:pt x="133" y="28"/>
                    </a:cubicBezTo>
                    <a:lnTo>
                      <a:pt x="133" y="41"/>
                    </a:lnTo>
                    <a:close/>
                    <a:moveTo>
                      <a:pt x="200" y="41"/>
                    </a:moveTo>
                    <a:cubicBezTo>
                      <a:pt x="200" y="48"/>
                      <a:pt x="195" y="53"/>
                      <a:pt x="188" y="53"/>
                    </a:cubicBezTo>
                    <a:cubicBezTo>
                      <a:pt x="162" y="53"/>
                      <a:pt x="162" y="53"/>
                      <a:pt x="162" y="53"/>
                    </a:cubicBezTo>
                    <a:cubicBezTo>
                      <a:pt x="156" y="53"/>
                      <a:pt x="151" y="48"/>
                      <a:pt x="151" y="41"/>
                    </a:cubicBezTo>
                    <a:cubicBezTo>
                      <a:pt x="151" y="28"/>
                      <a:pt x="151" y="28"/>
                      <a:pt x="151" y="28"/>
                    </a:cubicBezTo>
                    <a:cubicBezTo>
                      <a:pt x="151" y="22"/>
                      <a:pt x="156" y="17"/>
                      <a:pt x="162" y="17"/>
                    </a:cubicBezTo>
                    <a:cubicBezTo>
                      <a:pt x="188" y="17"/>
                      <a:pt x="188" y="17"/>
                      <a:pt x="188" y="17"/>
                    </a:cubicBezTo>
                    <a:cubicBezTo>
                      <a:pt x="195" y="17"/>
                      <a:pt x="200" y="22"/>
                      <a:pt x="200" y="28"/>
                    </a:cubicBezTo>
                    <a:lnTo>
                      <a:pt x="200" y="41"/>
                    </a:lnTo>
                    <a:close/>
                    <a:moveTo>
                      <a:pt x="267" y="41"/>
                    </a:moveTo>
                    <a:cubicBezTo>
                      <a:pt x="267" y="48"/>
                      <a:pt x="262" y="53"/>
                      <a:pt x="256" y="53"/>
                    </a:cubicBezTo>
                    <a:cubicBezTo>
                      <a:pt x="230" y="53"/>
                      <a:pt x="230" y="53"/>
                      <a:pt x="230" y="53"/>
                    </a:cubicBezTo>
                    <a:cubicBezTo>
                      <a:pt x="223" y="53"/>
                      <a:pt x="218" y="48"/>
                      <a:pt x="218" y="41"/>
                    </a:cubicBezTo>
                    <a:cubicBezTo>
                      <a:pt x="218" y="28"/>
                      <a:pt x="218" y="28"/>
                      <a:pt x="218" y="28"/>
                    </a:cubicBezTo>
                    <a:cubicBezTo>
                      <a:pt x="218" y="22"/>
                      <a:pt x="223" y="17"/>
                      <a:pt x="230" y="17"/>
                    </a:cubicBezTo>
                    <a:cubicBezTo>
                      <a:pt x="256" y="17"/>
                      <a:pt x="256" y="17"/>
                      <a:pt x="256" y="17"/>
                    </a:cubicBezTo>
                    <a:cubicBezTo>
                      <a:pt x="262" y="17"/>
                      <a:pt x="267" y="22"/>
                      <a:pt x="267" y="28"/>
                    </a:cubicBezTo>
                    <a:lnTo>
                      <a:pt x="267" y="41"/>
                    </a:lnTo>
                    <a:close/>
                    <a:moveTo>
                      <a:pt x="335" y="41"/>
                    </a:moveTo>
                    <a:cubicBezTo>
                      <a:pt x="335" y="48"/>
                      <a:pt x="329" y="53"/>
                      <a:pt x="323" y="53"/>
                    </a:cubicBezTo>
                    <a:cubicBezTo>
                      <a:pt x="297" y="53"/>
                      <a:pt x="297" y="53"/>
                      <a:pt x="297" y="53"/>
                    </a:cubicBezTo>
                    <a:cubicBezTo>
                      <a:pt x="291" y="53"/>
                      <a:pt x="285" y="48"/>
                      <a:pt x="285" y="41"/>
                    </a:cubicBezTo>
                    <a:cubicBezTo>
                      <a:pt x="285" y="28"/>
                      <a:pt x="285" y="28"/>
                      <a:pt x="285" y="28"/>
                    </a:cubicBezTo>
                    <a:cubicBezTo>
                      <a:pt x="285" y="22"/>
                      <a:pt x="291" y="17"/>
                      <a:pt x="297" y="17"/>
                    </a:cubicBezTo>
                    <a:cubicBezTo>
                      <a:pt x="323" y="17"/>
                      <a:pt x="323" y="17"/>
                      <a:pt x="323" y="17"/>
                    </a:cubicBezTo>
                    <a:cubicBezTo>
                      <a:pt x="329" y="17"/>
                      <a:pt x="335" y="22"/>
                      <a:pt x="335" y="28"/>
                    </a:cubicBezTo>
                    <a:lnTo>
                      <a:pt x="335" y="41"/>
                    </a:lnTo>
                    <a:close/>
                    <a:moveTo>
                      <a:pt x="402" y="41"/>
                    </a:moveTo>
                    <a:cubicBezTo>
                      <a:pt x="402" y="48"/>
                      <a:pt x="397" y="53"/>
                      <a:pt x="390" y="53"/>
                    </a:cubicBezTo>
                    <a:cubicBezTo>
                      <a:pt x="364" y="53"/>
                      <a:pt x="364" y="53"/>
                      <a:pt x="364" y="53"/>
                    </a:cubicBezTo>
                    <a:cubicBezTo>
                      <a:pt x="358" y="53"/>
                      <a:pt x="353" y="48"/>
                      <a:pt x="353" y="41"/>
                    </a:cubicBezTo>
                    <a:cubicBezTo>
                      <a:pt x="353" y="28"/>
                      <a:pt x="353" y="28"/>
                      <a:pt x="353" y="28"/>
                    </a:cubicBezTo>
                    <a:cubicBezTo>
                      <a:pt x="353" y="22"/>
                      <a:pt x="358" y="17"/>
                      <a:pt x="364" y="17"/>
                    </a:cubicBezTo>
                    <a:cubicBezTo>
                      <a:pt x="390" y="17"/>
                      <a:pt x="390" y="17"/>
                      <a:pt x="390" y="17"/>
                    </a:cubicBezTo>
                    <a:cubicBezTo>
                      <a:pt x="397" y="17"/>
                      <a:pt x="402" y="22"/>
                      <a:pt x="402" y="28"/>
                    </a:cubicBezTo>
                    <a:lnTo>
                      <a:pt x="402" y="4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0" i="0" u="none" strike="noStrike" kern="1200" cap="none" spc="0" normalizeH="0" baseline="0" noProof="0">
                  <a:ln>
                    <a:noFill/>
                  </a:ln>
                  <a:solidFill>
                    <a:srgbClr val="58585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88" name="Group 87">
            <a:extLst>
              <a:ext uri="{FF2B5EF4-FFF2-40B4-BE49-F238E27FC236}">
                <a16:creationId xmlns="" xmlns:a16="http://schemas.microsoft.com/office/drawing/2014/main" id="{C976C52C-E394-49F5-BA3C-28C5A8E51E93}"/>
              </a:ext>
            </a:extLst>
          </p:cNvPr>
          <p:cNvGrpSpPr/>
          <p:nvPr/>
        </p:nvGrpSpPr>
        <p:grpSpPr>
          <a:xfrm>
            <a:off x="-163929" y="1612813"/>
            <a:ext cx="2657981" cy="1440002"/>
            <a:chOff x="-161982" y="1195608"/>
            <a:chExt cx="2657981" cy="1440002"/>
          </a:xfrm>
        </p:grpSpPr>
        <p:sp>
          <p:nvSpPr>
            <p:cNvPr id="90" name="Freeform 6">
              <a:extLst>
                <a:ext uri="{FF2B5EF4-FFF2-40B4-BE49-F238E27FC236}">
                  <a16:creationId xmlns="" xmlns:a16="http://schemas.microsoft.com/office/drawing/2014/main" id="{4F435A3B-FC59-4C73-B830-5A6DE267F524}"/>
                </a:ext>
              </a:extLst>
            </p:cNvPr>
            <p:cNvSpPr>
              <a:spLocks noChangeAspect="1"/>
            </p:cNvSpPr>
            <p:nvPr/>
          </p:nvSpPr>
          <p:spPr bwMode="auto">
            <a:xfrm rot="10800000" flipH="1">
              <a:off x="-161982" y="1195608"/>
              <a:ext cx="2657981" cy="1440002"/>
            </a:xfrm>
            <a:custGeom>
              <a:avLst/>
              <a:gdLst>
                <a:gd name="T0" fmla="*/ 2147483647 w 1098"/>
                <a:gd name="T1" fmla="*/ 2147483647 h 211"/>
                <a:gd name="T2" fmla="*/ 2147483647 w 1098"/>
                <a:gd name="T3" fmla="*/ 2147483647 h 211"/>
                <a:gd name="T4" fmla="*/ 2147483647 w 1098"/>
                <a:gd name="T5" fmla="*/ 2147483647 h 211"/>
                <a:gd name="T6" fmla="*/ 2147483647 w 1098"/>
                <a:gd name="T7" fmla="*/ 2147483647 h 211"/>
                <a:gd name="T8" fmla="*/ 2147483647 w 1098"/>
                <a:gd name="T9" fmla="*/ 2147483647 h 211"/>
                <a:gd name="T10" fmla="*/ 2147483647 w 1098"/>
                <a:gd name="T11" fmla="*/ 2147483647 h 211"/>
                <a:gd name="T12" fmla="*/ 0 w 1098"/>
                <a:gd name="T13" fmla="*/ 2147483647 h 211"/>
                <a:gd name="T14" fmla="*/ 0 w 1098"/>
                <a:gd name="T15" fmla="*/ 2147483647 h 211"/>
                <a:gd name="T16" fmla="*/ 2147483647 w 1098"/>
                <a:gd name="T17" fmla="*/ 0 h 211"/>
                <a:gd name="T18" fmla="*/ 2147483647 w 1098"/>
                <a:gd name="T19" fmla="*/ 0 h 211"/>
                <a:gd name="T20" fmla="*/ 2147483647 w 1098"/>
                <a:gd name="T21" fmla="*/ 2147483647 h 2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98"/>
                <a:gd name="T34" fmla="*/ 0 h 211"/>
                <a:gd name="T35" fmla="*/ 1098 w 1098"/>
                <a:gd name="T36" fmla="*/ 211 h 21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98" h="211">
                  <a:moveTo>
                    <a:pt x="1002" y="10"/>
                  </a:moveTo>
                  <a:cubicBezTo>
                    <a:pt x="1087" y="95"/>
                    <a:pt x="1087" y="95"/>
                    <a:pt x="1087" y="95"/>
                  </a:cubicBezTo>
                  <a:cubicBezTo>
                    <a:pt x="1087" y="95"/>
                    <a:pt x="1098" y="105"/>
                    <a:pt x="1087" y="116"/>
                  </a:cubicBezTo>
                  <a:cubicBezTo>
                    <a:pt x="1075" y="128"/>
                    <a:pt x="1002" y="201"/>
                    <a:pt x="1002" y="201"/>
                  </a:cubicBezTo>
                  <a:cubicBezTo>
                    <a:pt x="1002" y="201"/>
                    <a:pt x="991" y="211"/>
                    <a:pt x="976" y="211"/>
                  </a:cubicBezTo>
                  <a:cubicBezTo>
                    <a:pt x="969" y="211"/>
                    <a:pt x="21" y="211"/>
                    <a:pt x="21" y="211"/>
                  </a:cubicBezTo>
                  <a:cubicBezTo>
                    <a:pt x="9" y="211"/>
                    <a:pt x="0" y="202"/>
                    <a:pt x="0" y="19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9"/>
                    <a:pt x="9" y="0"/>
                    <a:pt x="21" y="0"/>
                  </a:cubicBezTo>
                  <a:cubicBezTo>
                    <a:pt x="21" y="0"/>
                    <a:pt x="969" y="0"/>
                    <a:pt x="976" y="0"/>
                  </a:cubicBezTo>
                  <a:cubicBezTo>
                    <a:pt x="992" y="0"/>
                    <a:pt x="1002" y="10"/>
                    <a:pt x="1002" y="1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83000">
                  <a:schemeClr val="bg1">
                    <a:alpha val="36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sv-S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="" xmlns:a16="http://schemas.microsoft.com/office/drawing/2014/main" id="{3B98A1A5-B088-42C3-AB61-89DCCB4C8B2A}"/>
                </a:ext>
              </a:extLst>
            </p:cNvPr>
            <p:cNvSpPr txBox="1"/>
            <p:nvPr/>
          </p:nvSpPr>
          <p:spPr>
            <a:xfrm>
              <a:off x="318057" y="1624155"/>
              <a:ext cx="169790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ECNOLOGIA</a:t>
              </a:r>
              <a:b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5G</a:t>
              </a:r>
            </a:p>
          </p:txBody>
        </p:sp>
      </p:grpSp>
      <p:sp>
        <p:nvSpPr>
          <p:cNvPr id="92" name="Freeform 6">
            <a:extLst>
              <a:ext uri="{FF2B5EF4-FFF2-40B4-BE49-F238E27FC236}">
                <a16:creationId xmlns="" xmlns:a16="http://schemas.microsoft.com/office/drawing/2014/main" id="{0CBD66B2-0B81-4706-B45E-BEAFB8D55A21}"/>
              </a:ext>
            </a:extLst>
          </p:cNvPr>
          <p:cNvSpPr>
            <a:spLocks noChangeAspect="1"/>
          </p:cNvSpPr>
          <p:nvPr/>
        </p:nvSpPr>
        <p:spPr bwMode="auto">
          <a:xfrm rot="10800000" flipH="1">
            <a:off x="-96941" y="3269756"/>
            <a:ext cx="2657981" cy="1545021"/>
          </a:xfrm>
          <a:custGeom>
            <a:avLst/>
            <a:gdLst>
              <a:gd name="T0" fmla="*/ 2147483647 w 1098"/>
              <a:gd name="T1" fmla="*/ 2147483647 h 211"/>
              <a:gd name="T2" fmla="*/ 2147483647 w 1098"/>
              <a:gd name="T3" fmla="*/ 2147483647 h 211"/>
              <a:gd name="T4" fmla="*/ 2147483647 w 1098"/>
              <a:gd name="T5" fmla="*/ 2147483647 h 211"/>
              <a:gd name="T6" fmla="*/ 2147483647 w 1098"/>
              <a:gd name="T7" fmla="*/ 2147483647 h 211"/>
              <a:gd name="T8" fmla="*/ 2147483647 w 1098"/>
              <a:gd name="T9" fmla="*/ 2147483647 h 211"/>
              <a:gd name="T10" fmla="*/ 2147483647 w 1098"/>
              <a:gd name="T11" fmla="*/ 2147483647 h 211"/>
              <a:gd name="T12" fmla="*/ 0 w 1098"/>
              <a:gd name="T13" fmla="*/ 2147483647 h 211"/>
              <a:gd name="T14" fmla="*/ 0 w 1098"/>
              <a:gd name="T15" fmla="*/ 2147483647 h 211"/>
              <a:gd name="T16" fmla="*/ 2147483647 w 1098"/>
              <a:gd name="T17" fmla="*/ 0 h 211"/>
              <a:gd name="T18" fmla="*/ 2147483647 w 1098"/>
              <a:gd name="T19" fmla="*/ 0 h 211"/>
              <a:gd name="T20" fmla="*/ 2147483647 w 1098"/>
              <a:gd name="T21" fmla="*/ 2147483647 h 21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098"/>
              <a:gd name="T34" fmla="*/ 0 h 211"/>
              <a:gd name="T35" fmla="*/ 1098 w 1098"/>
              <a:gd name="T36" fmla="*/ 211 h 21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098" h="211">
                <a:moveTo>
                  <a:pt x="1002" y="10"/>
                </a:moveTo>
                <a:cubicBezTo>
                  <a:pt x="1087" y="95"/>
                  <a:pt x="1087" y="95"/>
                  <a:pt x="1087" y="95"/>
                </a:cubicBezTo>
                <a:cubicBezTo>
                  <a:pt x="1087" y="95"/>
                  <a:pt x="1098" y="105"/>
                  <a:pt x="1087" y="116"/>
                </a:cubicBezTo>
                <a:cubicBezTo>
                  <a:pt x="1075" y="128"/>
                  <a:pt x="1002" y="201"/>
                  <a:pt x="1002" y="201"/>
                </a:cubicBezTo>
                <a:cubicBezTo>
                  <a:pt x="1002" y="201"/>
                  <a:pt x="991" y="211"/>
                  <a:pt x="976" y="211"/>
                </a:cubicBezTo>
                <a:cubicBezTo>
                  <a:pt x="969" y="211"/>
                  <a:pt x="21" y="211"/>
                  <a:pt x="21" y="211"/>
                </a:cubicBezTo>
                <a:cubicBezTo>
                  <a:pt x="9" y="211"/>
                  <a:pt x="0" y="202"/>
                  <a:pt x="0" y="190"/>
                </a:cubicBezTo>
                <a:cubicBezTo>
                  <a:pt x="0" y="21"/>
                  <a:pt x="0" y="21"/>
                  <a:pt x="0" y="21"/>
                </a:cubicBezTo>
                <a:cubicBezTo>
                  <a:pt x="0" y="9"/>
                  <a:pt x="9" y="0"/>
                  <a:pt x="21" y="0"/>
                </a:cubicBezTo>
                <a:cubicBezTo>
                  <a:pt x="21" y="0"/>
                  <a:pt x="969" y="0"/>
                  <a:pt x="976" y="0"/>
                </a:cubicBezTo>
                <a:cubicBezTo>
                  <a:pt x="992" y="0"/>
                  <a:pt x="1002" y="10"/>
                  <a:pt x="1002" y="1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alpha val="0"/>
                </a:schemeClr>
              </a:gs>
              <a:gs pos="83000">
                <a:schemeClr val="bg1">
                  <a:alpha val="36000"/>
                </a:schemeClr>
              </a:gs>
            </a:gsLst>
            <a:lin ang="0" scaled="1"/>
            <a:tileRect/>
          </a:gradFill>
          <a:ln>
            <a:noFill/>
          </a:ln>
        </p:spPr>
        <p:txBody>
          <a:bodyPr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sv-SE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S PGothic" charset="-128"/>
              <a:cs typeface="Arial" charset="0"/>
            </a:endParaRPr>
          </a:p>
        </p:txBody>
      </p:sp>
      <p:grpSp>
        <p:nvGrpSpPr>
          <p:cNvPr id="161" name="Group 160">
            <a:extLst>
              <a:ext uri="{FF2B5EF4-FFF2-40B4-BE49-F238E27FC236}">
                <a16:creationId xmlns="" xmlns:a16="http://schemas.microsoft.com/office/drawing/2014/main" id="{0FFA081E-68FA-4091-8C5E-8D363B3C771A}"/>
              </a:ext>
            </a:extLst>
          </p:cNvPr>
          <p:cNvGrpSpPr/>
          <p:nvPr/>
        </p:nvGrpSpPr>
        <p:grpSpPr>
          <a:xfrm>
            <a:off x="-168478" y="3335316"/>
            <a:ext cx="2657981" cy="1440002"/>
            <a:chOff x="-161982" y="1195608"/>
            <a:chExt cx="2657981" cy="1440002"/>
          </a:xfrm>
        </p:grpSpPr>
        <p:sp>
          <p:nvSpPr>
            <p:cNvPr id="174" name="Freeform 6">
              <a:extLst>
                <a:ext uri="{FF2B5EF4-FFF2-40B4-BE49-F238E27FC236}">
                  <a16:creationId xmlns="" xmlns:a16="http://schemas.microsoft.com/office/drawing/2014/main" id="{4509B324-DEE7-41CF-82D8-CAFE744C3B98}"/>
                </a:ext>
              </a:extLst>
            </p:cNvPr>
            <p:cNvSpPr>
              <a:spLocks noChangeAspect="1"/>
            </p:cNvSpPr>
            <p:nvPr/>
          </p:nvSpPr>
          <p:spPr bwMode="auto">
            <a:xfrm rot="10800000" flipH="1">
              <a:off x="-161982" y="1195608"/>
              <a:ext cx="2657981" cy="1440002"/>
            </a:xfrm>
            <a:custGeom>
              <a:avLst/>
              <a:gdLst>
                <a:gd name="T0" fmla="*/ 2147483647 w 1098"/>
                <a:gd name="T1" fmla="*/ 2147483647 h 211"/>
                <a:gd name="T2" fmla="*/ 2147483647 w 1098"/>
                <a:gd name="T3" fmla="*/ 2147483647 h 211"/>
                <a:gd name="T4" fmla="*/ 2147483647 w 1098"/>
                <a:gd name="T5" fmla="*/ 2147483647 h 211"/>
                <a:gd name="T6" fmla="*/ 2147483647 w 1098"/>
                <a:gd name="T7" fmla="*/ 2147483647 h 211"/>
                <a:gd name="T8" fmla="*/ 2147483647 w 1098"/>
                <a:gd name="T9" fmla="*/ 2147483647 h 211"/>
                <a:gd name="T10" fmla="*/ 2147483647 w 1098"/>
                <a:gd name="T11" fmla="*/ 2147483647 h 211"/>
                <a:gd name="T12" fmla="*/ 0 w 1098"/>
                <a:gd name="T13" fmla="*/ 2147483647 h 211"/>
                <a:gd name="T14" fmla="*/ 0 w 1098"/>
                <a:gd name="T15" fmla="*/ 2147483647 h 211"/>
                <a:gd name="T16" fmla="*/ 2147483647 w 1098"/>
                <a:gd name="T17" fmla="*/ 0 h 211"/>
                <a:gd name="T18" fmla="*/ 2147483647 w 1098"/>
                <a:gd name="T19" fmla="*/ 0 h 211"/>
                <a:gd name="T20" fmla="*/ 2147483647 w 1098"/>
                <a:gd name="T21" fmla="*/ 2147483647 h 2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98"/>
                <a:gd name="T34" fmla="*/ 0 h 211"/>
                <a:gd name="T35" fmla="*/ 1098 w 1098"/>
                <a:gd name="T36" fmla="*/ 211 h 21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98" h="211">
                  <a:moveTo>
                    <a:pt x="1002" y="10"/>
                  </a:moveTo>
                  <a:cubicBezTo>
                    <a:pt x="1087" y="95"/>
                    <a:pt x="1087" y="95"/>
                    <a:pt x="1087" y="95"/>
                  </a:cubicBezTo>
                  <a:cubicBezTo>
                    <a:pt x="1087" y="95"/>
                    <a:pt x="1098" y="105"/>
                    <a:pt x="1087" y="116"/>
                  </a:cubicBezTo>
                  <a:cubicBezTo>
                    <a:pt x="1075" y="128"/>
                    <a:pt x="1002" y="201"/>
                    <a:pt x="1002" y="201"/>
                  </a:cubicBezTo>
                  <a:cubicBezTo>
                    <a:pt x="1002" y="201"/>
                    <a:pt x="991" y="211"/>
                    <a:pt x="976" y="211"/>
                  </a:cubicBezTo>
                  <a:cubicBezTo>
                    <a:pt x="969" y="211"/>
                    <a:pt x="21" y="211"/>
                    <a:pt x="21" y="211"/>
                  </a:cubicBezTo>
                  <a:cubicBezTo>
                    <a:pt x="9" y="211"/>
                    <a:pt x="0" y="202"/>
                    <a:pt x="0" y="19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9"/>
                    <a:pt x="9" y="0"/>
                    <a:pt x="21" y="0"/>
                  </a:cubicBezTo>
                  <a:cubicBezTo>
                    <a:pt x="21" y="0"/>
                    <a:pt x="969" y="0"/>
                    <a:pt x="976" y="0"/>
                  </a:cubicBezTo>
                  <a:cubicBezTo>
                    <a:pt x="992" y="0"/>
                    <a:pt x="1002" y="10"/>
                    <a:pt x="1002" y="1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83000">
                  <a:schemeClr val="bg1">
                    <a:alpha val="36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sv-S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endParaRPr>
            </a:p>
          </p:txBody>
        </p:sp>
        <p:sp>
          <p:nvSpPr>
            <p:cNvPr id="175" name="TextBox 174">
              <a:extLst>
                <a:ext uri="{FF2B5EF4-FFF2-40B4-BE49-F238E27FC236}">
                  <a16:creationId xmlns="" xmlns:a16="http://schemas.microsoft.com/office/drawing/2014/main" id="{777AD76C-5776-4728-A527-C581AC3F9222}"/>
                </a:ext>
              </a:extLst>
            </p:cNvPr>
            <p:cNvSpPr txBox="1"/>
            <p:nvPr/>
          </p:nvSpPr>
          <p:spPr>
            <a:xfrm>
              <a:off x="320043" y="1276171"/>
              <a:ext cx="1787669" cy="12003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SPERIENZE</a:t>
              </a:r>
              <a:b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GLOBALI E</a:t>
              </a:r>
              <a:b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MPETENZE</a:t>
              </a:r>
              <a:b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OCALI</a:t>
              </a:r>
            </a:p>
          </p:txBody>
        </p:sp>
      </p:grpSp>
      <p:pic>
        <p:nvPicPr>
          <p:cNvPr id="11" name="Econ2011">
            <a:extLst>
              <a:ext uri="{FF2B5EF4-FFF2-40B4-BE49-F238E27FC236}">
                <a16:creationId xmlns="" xmlns:a16="http://schemas.microsoft.com/office/drawing/2014/main" id="{2FF7A3AF-B787-4AF5-A036-7C5C813E9AB5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09564" y="360000"/>
            <a:ext cx="444500" cy="587195"/>
          </a:xfrm>
          <a:prstGeom prst="rect">
            <a:avLst/>
          </a:prstGeom>
        </p:spPr>
      </p:pic>
      <p:pic>
        <p:nvPicPr>
          <p:cNvPr id="89" name="Picture 88">
            <a:extLst>
              <a:ext uri="{FF2B5EF4-FFF2-40B4-BE49-F238E27FC236}">
                <a16:creationId xmlns="" xmlns:a16="http://schemas.microsoft.com/office/drawing/2014/main" id="{A10E9F70-A7DB-1B47-88C4-95E516139DE2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77800" y="258195"/>
            <a:ext cx="11176000" cy="1181100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="" xmlns:a16="http://schemas.microsoft.com/office/drawing/2014/main" id="{3A86BBC0-D294-D148-A301-6FFAB2961160}"/>
              </a:ext>
            </a:extLst>
          </p:cNvPr>
          <p:cNvPicPr>
            <a:picLocks noChangeAspect="1"/>
          </p:cNvPicPr>
          <p:nvPr/>
        </p:nvPicPr>
        <p:blipFill rotWithShape="1"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66" y="6132078"/>
            <a:ext cx="12178468" cy="725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8906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B0F0"/>
                                      </p:to>
                                    </p:animClr>
                                    <p:set>
                                      <p:cBhvr>
                                        <p:cTn id="7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4" presetClass="entr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1" grpId="0" animBg="1"/>
      <p:bldP spid="147" grpId="0" animBg="1"/>
      <p:bldP spid="15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Immagine 28" descr="img.jp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324600"/>
          </a:xfrm>
          <a:prstGeom prst="rect">
            <a:avLst/>
          </a:prstGeom>
        </p:spPr>
      </p:pic>
      <p:pic>
        <p:nvPicPr>
          <p:cNvPr id="201" name="Picture 200">
            <a:extLst>
              <a:ext uri="{FF2B5EF4-FFF2-40B4-BE49-F238E27FC236}">
                <a16:creationId xmlns="" xmlns:a16="http://schemas.microsoft.com/office/drawing/2014/main" id="{B4851E60-BF62-4A59-A273-6044FC82157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47340" y="1141421"/>
            <a:ext cx="7452553" cy="3506037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A536CA22-C5BD-463F-A333-88C78AC94A5A}"/>
              </a:ext>
            </a:extLst>
          </p:cNvPr>
          <p:cNvGrpSpPr/>
          <p:nvPr/>
        </p:nvGrpSpPr>
        <p:grpSpPr>
          <a:xfrm>
            <a:off x="2667456" y="2658661"/>
            <a:ext cx="3071129" cy="1418899"/>
            <a:chOff x="2667456" y="2658661"/>
            <a:chExt cx="3071129" cy="1418899"/>
          </a:xfrm>
        </p:grpSpPr>
        <p:sp>
          <p:nvSpPr>
            <p:cNvPr id="203" name="Ellips 3">
              <a:extLst>
                <a:ext uri="{FF2B5EF4-FFF2-40B4-BE49-F238E27FC236}">
                  <a16:creationId xmlns="" xmlns:a16="http://schemas.microsoft.com/office/drawing/2014/main" id="{6DDF77C4-8436-4B5E-91A1-721E0DDBD923}"/>
                </a:ext>
              </a:extLst>
            </p:cNvPr>
            <p:cNvSpPr/>
            <p:nvPr/>
          </p:nvSpPr>
          <p:spPr bwMode="auto">
            <a:xfrm>
              <a:off x="2667456" y="2709893"/>
              <a:ext cx="369094" cy="369094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72000" tIns="45720" rIns="72000" bIns="45720"/>
            <a:lstStyle/>
            <a:p>
              <a:pPr marL="0" marR="0" lvl="0" indent="0" algn="l" defTabSz="6857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Calibri" panose="020F0502020204030204"/>
                <a:ea typeface="MS PGothic" pitchFamily="34" charset="-128"/>
                <a:cs typeface="+mn-cs"/>
              </a:endParaRPr>
            </a:p>
          </p:txBody>
        </p:sp>
        <p:sp>
          <p:nvSpPr>
            <p:cNvPr id="204" name="TextBox 136">
              <a:extLst>
                <a:ext uri="{FF2B5EF4-FFF2-40B4-BE49-F238E27FC236}">
                  <a16:creationId xmlns="" xmlns:a16="http://schemas.microsoft.com/office/drawing/2014/main" id="{E5EB2CAD-5EA1-4E16-BE91-C2C28A62CB7D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080603" y="2658661"/>
              <a:ext cx="2139287" cy="5001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576" tIns="34289" rIns="68576" bIns="34289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+mn-cs"/>
                </a:rPr>
                <a:t>38</a:t>
              </a: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+mn-cs"/>
                </a:rPr>
                <a:t> MoUs con Operatori</a:t>
              </a:r>
              <a:b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+mn-cs"/>
                </a:rPr>
              </a:br>
              <a:r>
                <a:rPr kumimoji="0" lang="en-US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+mn-cs"/>
                </a:rPr>
                <a:t>di Telecomunicazioni</a:t>
              </a:r>
            </a:p>
          </p:txBody>
        </p:sp>
        <p:sp>
          <p:nvSpPr>
            <p:cNvPr id="205" name="Freeform 3">
              <a:extLst>
                <a:ext uri="{FF2B5EF4-FFF2-40B4-BE49-F238E27FC236}">
                  <a16:creationId xmlns="" xmlns:a16="http://schemas.microsoft.com/office/drawing/2014/main" id="{1E485D90-315B-4946-B91D-ED606C63C7C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769849" y="2796809"/>
              <a:ext cx="164306" cy="236935"/>
            </a:xfrm>
            <a:custGeom>
              <a:avLst/>
              <a:gdLst>
                <a:gd name="T0" fmla="*/ 2147483647 w 324"/>
                <a:gd name="T1" fmla="*/ 2147483647 h 468"/>
                <a:gd name="T2" fmla="*/ 2147483647 w 324"/>
                <a:gd name="T3" fmla="*/ 2147483647 h 468"/>
                <a:gd name="T4" fmla="*/ 2147483647 w 324"/>
                <a:gd name="T5" fmla="*/ 2147483647 h 468"/>
                <a:gd name="T6" fmla="*/ 2147483647 w 324"/>
                <a:gd name="T7" fmla="*/ 2147483647 h 468"/>
                <a:gd name="T8" fmla="*/ 2147483647 w 324"/>
                <a:gd name="T9" fmla="*/ 2147483647 h 468"/>
                <a:gd name="T10" fmla="*/ 2147483647 w 324"/>
                <a:gd name="T11" fmla="*/ 2147483647 h 468"/>
                <a:gd name="T12" fmla="*/ 2147483647 w 324"/>
                <a:gd name="T13" fmla="*/ 2147483647 h 468"/>
                <a:gd name="T14" fmla="*/ 2147483647 w 324"/>
                <a:gd name="T15" fmla="*/ 2147483647 h 468"/>
                <a:gd name="T16" fmla="*/ 2147483647 w 324"/>
                <a:gd name="T17" fmla="*/ 2147483647 h 468"/>
                <a:gd name="T18" fmla="*/ 2147483647 w 324"/>
                <a:gd name="T19" fmla="*/ 2147483647 h 468"/>
                <a:gd name="T20" fmla="*/ 2147483647 w 324"/>
                <a:gd name="T21" fmla="*/ 2147483647 h 468"/>
                <a:gd name="T22" fmla="*/ 2147483647 w 324"/>
                <a:gd name="T23" fmla="*/ 2147483647 h 468"/>
                <a:gd name="T24" fmla="*/ 2147483647 w 324"/>
                <a:gd name="T25" fmla="*/ 2147483647 h 468"/>
                <a:gd name="T26" fmla="*/ 2147483647 w 324"/>
                <a:gd name="T27" fmla="*/ 2147483647 h 468"/>
                <a:gd name="T28" fmla="*/ 2147483647 w 324"/>
                <a:gd name="T29" fmla="*/ 2147483647 h 468"/>
                <a:gd name="T30" fmla="*/ 2147483647 w 324"/>
                <a:gd name="T31" fmla="*/ 2147483647 h 468"/>
                <a:gd name="T32" fmla="*/ 2147483647 w 324"/>
                <a:gd name="T33" fmla="*/ 2147483647 h 468"/>
                <a:gd name="T34" fmla="*/ 2147483647 w 324"/>
                <a:gd name="T35" fmla="*/ 0 h 468"/>
                <a:gd name="T36" fmla="*/ 0 w 324"/>
                <a:gd name="T37" fmla="*/ 2147483647 h 468"/>
                <a:gd name="T38" fmla="*/ 2147483647 w 324"/>
                <a:gd name="T39" fmla="*/ 2147483647 h 468"/>
                <a:gd name="T40" fmla="*/ 2147483647 w 324"/>
                <a:gd name="T41" fmla="*/ 2147483647 h 468"/>
                <a:gd name="T42" fmla="*/ 2147483647 w 324"/>
                <a:gd name="T43" fmla="*/ 2147483647 h 468"/>
                <a:gd name="T44" fmla="*/ 2147483647 w 324"/>
                <a:gd name="T45" fmla="*/ 2147483647 h 468"/>
                <a:gd name="T46" fmla="*/ 2147483647 w 324"/>
                <a:gd name="T47" fmla="*/ 2147483647 h 468"/>
                <a:gd name="T48" fmla="*/ 2147483647 w 324"/>
                <a:gd name="T49" fmla="*/ 2147483647 h 468"/>
                <a:gd name="T50" fmla="*/ 2147483647 w 324"/>
                <a:gd name="T51" fmla="*/ 2147483647 h 468"/>
                <a:gd name="T52" fmla="*/ 2147483647 w 324"/>
                <a:gd name="T53" fmla="*/ 2147483647 h 468"/>
                <a:gd name="T54" fmla="*/ 2147483647 w 324"/>
                <a:gd name="T55" fmla="*/ 2147483647 h 468"/>
                <a:gd name="T56" fmla="*/ 2147483647 w 324"/>
                <a:gd name="T57" fmla="*/ 2147483647 h 468"/>
                <a:gd name="T58" fmla="*/ 2147483647 w 324"/>
                <a:gd name="T59" fmla="*/ 2147483647 h 468"/>
                <a:gd name="T60" fmla="*/ 2147483647 w 324"/>
                <a:gd name="T61" fmla="*/ 2147483647 h 468"/>
                <a:gd name="T62" fmla="*/ 2147483647 w 324"/>
                <a:gd name="T63" fmla="*/ 2147483647 h 468"/>
                <a:gd name="T64" fmla="*/ 2147483647 w 324"/>
                <a:gd name="T65" fmla="*/ 2147483647 h 468"/>
                <a:gd name="T66" fmla="*/ 2147483647 w 324"/>
                <a:gd name="T67" fmla="*/ 2147483647 h 468"/>
                <a:gd name="T68" fmla="*/ 2147483647 w 324"/>
                <a:gd name="T69" fmla="*/ 2147483647 h 468"/>
                <a:gd name="T70" fmla="*/ 2147483647 w 324"/>
                <a:gd name="T71" fmla="*/ 2147483647 h 468"/>
                <a:gd name="T72" fmla="*/ 2147483647 w 324"/>
                <a:gd name="T73" fmla="*/ 2147483647 h 468"/>
                <a:gd name="T74" fmla="*/ 2147483647 w 324"/>
                <a:gd name="T75" fmla="*/ 2147483647 h 468"/>
                <a:gd name="T76" fmla="*/ 2147483647 w 324"/>
                <a:gd name="T77" fmla="*/ 2147483647 h 468"/>
                <a:gd name="T78" fmla="*/ 2147483647 w 324"/>
                <a:gd name="T79" fmla="*/ 2147483647 h 468"/>
                <a:gd name="T80" fmla="*/ 2147483647 w 324"/>
                <a:gd name="T81" fmla="*/ 2147483647 h 468"/>
                <a:gd name="T82" fmla="*/ 2147483647 w 324"/>
                <a:gd name="T83" fmla="*/ 2147483647 h 468"/>
                <a:gd name="T84" fmla="*/ 2147483647 w 324"/>
                <a:gd name="T85" fmla="*/ 2147483647 h 468"/>
                <a:gd name="T86" fmla="*/ 2147483647 w 324"/>
                <a:gd name="T87" fmla="*/ 2147483647 h 468"/>
                <a:gd name="T88" fmla="*/ 2147483647 w 324"/>
                <a:gd name="T89" fmla="*/ 2147483647 h 468"/>
                <a:gd name="T90" fmla="*/ 2147483647 w 324"/>
                <a:gd name="T91" fmla="*/ 2147483647 h 468"/>
                <a:gd name="T92" fmla="*/ 2147483647 w 324"/>
                <a:gd name="T93" fmla="*/ 2147483647 h 468"/>
                <a:gd name="T94" fmla="*/ 2147483647 w 324"/>
                <a:gd name="T95" fmla="*/ 2147483647 h 468"/>
                <a:gd name="T96" fmla="*/ 2147483647 w 324"/>
                <a:gd name="T97" fmla="*/ 2147483647 h 468"/>
                <a:gd name="T98" fmla="*/ 2147483647 w 324"/>
                <a:gd name="T99" fmla="*/ 2147483647 h 468"/>
                <a:gd name="T100" fmla="*/ 2147483647 w 324"/>
                <a:gd name="T101" fmla="*/ 2147483647 h 46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24" h="468">
                  <a:moveTo>
                    <a:pt x="88" y="379"/>
                  </a:moveTo>
                  <a:cubicBezTo>
                    <a:pt x="91" y="379"/>
                    <a:pt x="92" y="377"/>
                    <a:pt x="92" y="375"/>
                  </a:cubicBezTo>
                  <a:cubicBezTo>
                    <a:pt x="92" y="367"/>
                    <a:pt x="92" y="367"/>
                    <a:pt x="92" y="367"/>
                  </a:cubicBezTo>
                  <a:cubicBezTo>
                    <a:pt x="92" y="364"/>
                    <a:pt x="91" y="362"/>
                    <a:pt x="88" y="362"/>
                  </a:cubicBezTo>
                  <a:cubicBezTo>
                    <a:pt x="70" y="362"/>
                    <a:pt x="70" y="362"/>
                    <a:pt x="70" y="362"/>
                  </a:cubicBezTo>
                  <a:cubicBezTo>
                    <a:pt x="68" y="362"/>
                    <a:pt x="66" y="364"/>
                    <a:pt x="66" y="367"/>
                  </a:cubicBezTo>
                  <a:cubicBezTo>
                    <a:pt x="66" y="375"/>
                    <a:pt x="66" y="375"/>
                    <a:pt x="66" y="375"/>
                  </a:cubicBezTo>
                  <a:cubicBezTo>
                    <a:pt x="66" y="377"/>
                    <a:pt x="68" y="379"/>
                    <a:pt x="70" y="379"/>
                  </a:cubicBezTo>
                  <a:lnTo>
                    <a:pt x="88" y="379"/>
                  </a:lnTo>
                  <a:close/>
                  <a:moveTo>
                    <a:pt x="304" y="256"/>
                  </a:moveTo>
                  <a:cubicBezTo>
                    <a:pt x="304" y="78"/>
                    <a:pt x="304" y="78"/>
                    <a:pt x="304" y="78"/>
                  </a:cubicBezTo>
                  <a:cubicBezTo>
                    <a:pt x="304" y="74"/>
                    <a:pt x="300" y="70"/>
                    <a:pt x="296" y="70"/>
                  </a:cubicBezTo>
                  <a:cubicBezTo>
                    <a:pt x="292" y="70"/>
                    <a:pt x="288" y="74"/>
                    <a:pt x="288" y="78"/>
                  </a:cubicBezTo>
                  <a:cubicBezTo>
                    <a:pt x="288" y="257"/>
                    <a:pt x="288" y="257"/>
                    <a:pt x="288" y="257"/>
                  </a:cubicBezTo>
                  <a:cubicBezTo>
                    <a:pt x="285" y="258"/>
                    <a:pt x="283" y="259"/>
                    <a:pt x="280" y="260"/>
                  </a:cubicBezTo>
                  <a:cubicBezTo>
                    <a:pt x="278" y="257"/>
                    <a:pt x="276" y="255"/>
                    <a:pt x="273" y="253"/>
                  </a:cubicBezTo>
                  <a:cubicBezTo>
                    <a:pt x="273" y="53"/>
                    <a:pt x="273" y="53"/>
                    <a:pt x="273" y="53"/>
                  </a:cubicBezTo>
                  <a:cubicBezTo>
                    <a:pt x="273" y="39"/>
                    <a:pt x="265" y="32"/>
                    <a:pt x="252" y="32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40" y="32"/>
                    <a:pt x="32" y="40"/>
                    <a:pt x="32" y="53"/>
                  </a:cubicBezTo>
                  <a:cubicBezTo>
                    <a:pt x="32" y="328"/>
                    <a:pt x="32" y="328"/>
                    <a:pt x="32" y="328"/>
                  </a:cubicBezTo>
                  <a:cubicBezTo>
                    <a:pt x="32" y="342"/>
                    <a:pt x="39" y="349"/>
                    <a:pt x="53" y="349"/>
                  </a:cubicBezTo>
                  <a:cubicBezTo>
                    <a:pt x="107" y="349"/>
                    <a:pt x="107" y="349"/>
                    <a:pt x="107" y="349"/>
                  </a:cubicBezTo>
                  <a:cubicBezTo>
                    <a:pt x="110" y="362"/>
                    <a:pt x="114" y="375"/>
                    <a:pt x="118" y="384"/>
                  </a:cubicBezTo>
                  <a:cubicBezTo>
                    <a:pt x="119" y="387"/>
                    <a:pt x="120" y="389"/>
                    <a:pt x="122" y="393"/>
                  </a:cubicBezTo>
                  <a:cubicBezTo>
                    <a:pt x="31" y="393"/>
                    <a:pt x="31" y="393"/>
                    <a:pt x="31" y="393"/>
                  </a:cubicBezTo>
                  <a:cubicBezTo>
                    <a:pt x="23" y="393"/>
                    <a:pt x="16" y="386"/>
                    <a:pt x="16" y="379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26"/>
                    <a:pt x="23" y="16"/>
                    <a:pt x="36" y="16"/>
                  </a:cubicBezTo>
                  <a:cubicBezTo>
                    <a:pt x="273" y="16"/>
                    <a:pt x="273" y="16"/>
                    <a:pt x="273" y="16"/>
                  </a:cubicBezTo>
                  <a:cubicBezTo>
                    <a:pt x="281" y="16"/>
                    <a:pt x="288" y="22"/>
                    <a:pt x="288" y="30"/>
                  </a:cubicBezTo>
                  <a:cubicBezTo>
                    <a:pt x="288" y="46"/>
                    <a:pt x="288" y="46"/>
                    <a:pt x="288" y="46"/>
                  </a:cubicBezTo>
                  <a:cubicBezTo>
                    <a:pt x="288" y="51"/>
                    <a:pt x="292" y="54"/>
                    <a:pt x="296" y="54"/>
                  </a:cubicBezTo>
                  <a:cubicBezTo>
                    <a:pt x="300" y="54"/>
                    <a:pt x="304" y="51"/>
                    <a:pt x="304" y="46"/>
                  </a:cubicBezTo>
                  <a:cubicBezTo>
                    <a:pt x="304" y="30"/>
                    <a:pt x="304" y="30"/>
                    <a:pt x="304" y="30"/>
                  </a:cubicBezTo>
                  <a:cubicBezTo>
                    <a:pt x="304" y="13"/>
                    <a:pt x="290" y="0"/>
                    <a:pt x="273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6" y="0"/>
                    <a:pt x="0" y="16"/>
                    <a:pt x="0" y="37"/>
                  </a:cubicBezTo>
                  <a:cubicBezTo>
                    <a:pt x="0" y="379"/>
                    <a:pt x="0" y="379"/>
                    <a:pt x="0" y="379"/>
                  </a:cubicBezTo>
                  <a:cubicBezTo>
                    <a:pt x="0" y="395"/>
                    <a:pt x="14" y="409"/>
                    <a:pt x="31" y="409"/>
                  </a:cubicBezTo>
                  <a:cubicBezTo>
                    <a:pt x="132" y="409"/>
                    <a:pt x="132" y="409"/>
                    <a:pt x="132" y="409"/>
                  </a:cubicBezTo>
                  <a:cubicBezTo>
                    <a:pt x="149" y="435"/>
                    <a:pt x="182" y="468"/>
                    <a:pt x="235" y="468"/>
                  </a:cubicBezTo>
                  <a:cubicBezTo>
                    <a:pt x="294" y="468"/>
                    <a:pt x="324" y="426"/>
                    <a:pt x="324" y="385"/>
                  </a:cubicBezTo>
                  <a:cubicBezTo>
                    <a:pt x="324" y="282"/>
                    <a:pt x="324" y="282"/>
                    <a:pt x="324" y="282"/>
                  </a:cubicBezTo>
                  <a:cubicBezTo>
                    <a:pt x="324" y="270"/>
                    <a:pt x="316" y="259"/>
                    <a:pt x="304" y="256"/>
                  </a:cubicBezTo>
                  <a:close/>
                  <a:moveTo>
                    <a:pt x="93" y="271"/>
                  </a:moveTo>
                  <a:cubicBezTo>
                    <a:pt x="94" y="280"/>
                    <a:pt x="98" y="306"/>
                    <a:pt x="103" y="333"/>
                  </a:cubicBezTo>
                  <a:cubicBezTo>
                    <a:pt x="53" y="333"/>
                    <a:pt x="53" y="333"/>
                    <a:pt x="53" y="333"/>
                  </a:cubicBezTo>
                  <a:cubicBezTo>
                    <a:pt x="48" y="333"/>
                    <a:pt x="48" y="333"/>
                    <a:pt x="48" y="328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8" y="49"/>
                    <a:pt x="49" y="48"/>
                    <a:pt x="53" y="48"/>
                  </a:cubicBezTo>
                  <a:cubicBezTo>
                    <a:pt x="252" y="48"/>
                    <a:pt x="252" y="48"/>
                    <a:pt x="252" y="48"/>
                  </a:cubicBezTo>
                  <a:cubicBezTo>
                    <a:pt x="256" y="48"/>
                    <a:pt x="257" y="48"/>
                    <a:pt x="257" y="53"/>
                  </a:cubicBezTo>
                  <a:cubicBezTo>
                    <a:pt x="257" y="249"/>
                    <a:pt x="257" y="249"/>
                    <a:pt x="257" y="249"/>
                  </a:cubicBezTo>
                  <a:cubicBezTo>
                    <a:pt x="256" y="249"/>
                    <a:pt x="256" y="249"/>
                    <a:pt x="256" y="249"/>
                  </a:cubicBezTo>
                  <a:cubicBezTo>
                    <a:pt x="250" y="249"/>
                    <a:pt x="244" y="251"/>
                    <a:pt x="240" y="254"/>
                  </a:cubicBezTo>
                  <a:cubicBezTo>
                    <a:pt x="235" y="247"/>
                    <a:pt x="227" y="243"/>
                    <a:pt x="218" y="243"/>
                  </a:cubicBezTo>
                  <a:cubicBezTo>
                    <a:pt x="216" y="243"/>
                    <a:pt x="216" y="243"/>
                    <a:pt x="216" y="243"/>
                  </a:cubicBezTo>
                  <a:cubicBezTo>
                    <a:pt x="213" y="243"/>
                    <a:pt x="209" y="244"/>
                    <a:pt x="205" y="245"/>
                  </a:cubicBezTo>
                  <a:cubicBezTo>
                    <a:pt x="205" y="176"/>
                    <a:pt x="205" y="176"/>
                    <a:pt x="205" y="176"/>
                  </a:cubicBezTo>
                  <a:cubicBezTo>
                    <a:pt x="205" y="162"/>
                    <a:pt x="194" y="150"/>
                    <a:pt x="179" y="150"/>
                  </a:cubicBezTo>
                  <a:cubicBezTo>
                    <a:pt x="178" y="150"/>
                    <a:pt x="178" y="150"/>
                    <a:pt x="178" y="150"/>
                  </a:cubicBezTo>
                  <a:cubicBezTo>
                    <a:pt x="163" y="150"/>
                    <a:pt x="151" y="162"/>
                    <a:pt x="151" y="176"/>
                  </a:cubicBezTo>
                  <a:cubicBezTo>
                    <a:pt x="151" y="305"/>
                    <a:pt x="151" y="305"/>
                    <a:pt x="151" y="305"/>
                  </a:cubicBezTo>
                  <a:cubicBezTo>
                    <a:pt x="149" y="289"/>
                    <a:pt x="145" y="269"/>
                    <a:pt x="135" y="252"/>
                  </a:cubicBezTo>
                  <a:cubicBezTo>
                    <a:pt x="135" y="252"/>
                    <a:pt x="134" y="252"/>
                    <a:pt x="134" y="252"/>
                  </a:cubicBezTo>
                  <a:cubicBezTo>
                    <a:pt x="127" y="242"/>
                    <a:pt x="119" y="240"/>
                    <a:pt x="114" y="240"/>
                  </a:cubicBezTo>
                  <a:cubicBezTo>
                    <a:pt x="109" y="240"/>
                    <a:pt x="104" y="242"/>
                    <a:pt x="100" y="246"/>
                  </a:cubicBezTo>
                  <a:cubicBezTo>
                    <a:pt x="95" y="252"/>
                    <a:pt x="92" y="261"/>
                    <a:pt x="93" y="271"/>
                  </a:cubicBezTo>
                  <a:close/>
                  <a:moveTo>
                    <a:pt x="308" y="385"/>
                  </a:moveTo>
                  <a:cubicBezTo>
                    <a:pt x="308" y="417"/>
                    <a:pt x="285" y="452"/>
                    <a:pt x="235" y="452"/>
                  </a:cubicBezTo>
                  <a:cubicBezTo>
                    <a:pt x="173" y="452"/>
                    <a:pt x="143" y="400"/>
                    <a:pt x="132" y="378"/>
                  </a:cubicBezTo>
                  <a:cubicBezTo>
                    <a:pt x="120" y="351"/>
                    <a:pt x="111" y="292"/>
                    <a:pt x="109" y="269"/>
                  </a:cubicBezTo>
                  <a:cubicBezTo>
                    <a:pt x="109" y="263"/>
                    <a:pt x="111" y="259"/>
                    <a:pt x="112" y="257"/>
                  </a:cubicBezTo>
                  <a:cubicBezTo>
                    <a:pt x="113" y="256"/>
                    <a:pt x="114" y="256"/>
                    <a:pt x="114" y="256"/>
                  </a:cubicBezTo>
                  <a:cubicBezTo>
                    <a:pt x="116" y="256"/>
                    <a:pt x="118" y="257"/>
                    <a:pt x="121" y="261"/>
                  </a:cubicBezTo>
                  <a:cubicBezTo>
                    <a:pt x="130" y="275"/>
                    <a:pt x="133" y="293"/>
                    <a:pt x="136" y="308"/>
                  </a:cubicBezTo>
                  <a:cubicBezTo>
                    <a:pt x="139" y="327"/>
                    <a:pt x="142" y="344"/>
                    <a:pt x="157" y="344"/>
                  </a:cubicBezTo>
                  <a:cubicBezTo>
                    <a:pt x="158" y="344"/>
                    <a:pt x="160" y="344"/>
                    <a:pt x="161" y="344"/>
                  </a:cubicBezTo>
                  <a:cubicBezTo>
                    <a:pt x="165" y="343"/>
                    <a:pt x="167" y="340"/>
                    <a:pt x="167" y="336"/>
                  </a:cubicBezTo>
                  <a:cubicBezTo>
                    <a:pt x="167" y="176"/>
                    <a:pt x="167" y="176"/>
                    <a:pt x="167" y="176"/>
                  </a:cubicBezTo>
                  <a:cubicBezTo>
                    <a:pt x="167" y="171"/>
                    <a:pt x="172" y="166"/>
                    <a:pt x="178" y="166"/>
                  </a:cubicBezTo>
                  <a:cubicBezTo>
                    <a:pt x="179" y="166"/>
                    <a:pt x="179" y="166"/>
                    <a:pt x="179" y="166"/>
                  </a:cubicBezTo>
                  <a:cubicBezTo>
                    <a:pt x="185" y="166"/>
                    <a:pt x="189" y="171"/>
                    <a:pt x="189" y="176"/>
                  </a:cubicBezTo>
                  <a:cubicBezTo>
                    <a:pt x="189" y="269"/>
                    <a:pt x="189" y="269"/>
                    <a:pt x="189" y="269"/>
                  </a:cubicBezTo>
                  <a:cubicBezTo>
                    <a:pt x="189" y="274"/>
                    <a:pt x="193" y="277"/>
                    <a:pt x="197" y="277"/>
                  </a:cubicBezTo>
                  <a:cubicBezTo>
                    <a:pt x="202" y="277"/>
                    <a:pt x="205" y="274"/>
                    <a:pt x="205" y="269"/>
                  </a:cubicBezTo>
                  <a:cubicBezTo>
                    <a:pt x="205" y="264"/>
                    <a:pt x="210" y="259"/>
                    <a:pt x="216" y="259"/>
                  </a:cubicBezTo>
                  <a:cubicBezTo>
                    <a:pt x="218" y="259"/>
                    <a:pt x="218" y="259"/>
                    <a:pt x="218" y="259"/>
                  </a:cubicBezTo>
                  <a:cubicBezTo>
                    <a:pt x="224" y="259"/>
                    <a:pt x="229" y="264"/>
                    <a:pt x="229" y="269"/>
                  </a:cubicBezTo>
                  <a:cubicBezTo>
                    <a:pt x="229" y="275"/>
                    <a:pt x="229" y="275"/>
                    <a:pt x="229" y="275"/>
                  </a:cubicBezTo>
                  <a:cubicBezTo>
                    <a:pt x="229" y="279"/>
                    <a:pt x="233" y="283"/>
                    <a:pt x="237" y="283"/>
                  </a:cubicBezTo>
                  <a:cubicBezTo>
                    <a:pt x="242" y="283"/>
                    <a:pt x="245" y="279"/>
                    <a:pt x="245" y="275"/>
                  </a:cubicBezTo>
                  <a:cubicBezTo>
                    <a:pt x="245" y="269"/>
                    <a:pt x="250" y="265"/>
                    <a:pt x="256" y="265"/>
                  </a:cubicBezTo>
                  <a:cubicBezTo>
                    <a:pt x="258" y="265"/>
                    <a:pt x="258" y="265"/>
                    <a:pt x="258" y="265"/>
                  </a:cubicBezTo>
                  <a:cubicBezTo>
                    <a:pt x="264" y="265"/>
                    <a:pt x="269" y="269"/>
                    <a:pt x="269" y="275"/>
                  </a:cubicBezTo>
                  <a:cubicBezTo>
                    <a:pt x="269" y="282"/>
                    <a:pt x="269" y="282"/>
                    <a:pt x="269" y="282"/>
                  </a:cubicBezTo>
                  <a:cubicBezTo>
                    <a:pt x="269" y="286"/>
                    <a:pt x="272" y="290"/>
                    <a:pt x="277" y="290"/>
                  </a:cubicBezTo>
                  <a:cubicBezTo>
                    <a:pt x="281" y="290"/>
                    <a:pt x="285" y="286"/>
                    <a:pt x="285" y="282"/>
                  </a:cubicBezTo>
                  <a:cubicBezTo>
                    <a:pt x="285" y="276"/>
                    <a:pt x="290" y="272"/>
                    <a:pt x="296" y="272"/>
                  </a:cubicBezTo>
                  <a:cubicBezTo>
                    <a:pt x="297" y="272"/>
                    <a:pt x="297" y="272"/>
                    <a:pt x="297" y="272"/>
                  </a:cubicBezTo>
                  <a:cubicBezTo>
                    <a:pt x="303" y="272"/>
                    <a:pt x="308" y="276"/>
                    <a:pt x="308" y="282"/>
                  </a:cubicBezTo>
                  <a:lnTo>
                    <a:pt x="308" y="38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Calibri" panose="020F0502020204030204"/>
                <a:ea typeface="MS PGothic" pitchFamily="34" charset="-128"/>
                <a:cs typeface="+mn-cs"/>
              </a:endParaRPr>
            </a:p>
          </p:txBody>
        </p:sp>
        <p:sp>
          <p:nvSpPr>
            <p:cNvPr id="206" name="TextBox 168">
              <a:extLst>
                <a:ext uri="{FF2B5EF4-FFF2-40B4-BE49-F238E27FC236}">
                  <a16:creationId xmlns="" xmlns:a16="http://schemas.microsoft.com/office/drawing/2014/main" id="{56E5533D-5C42-4DBA-AD9D-761A2EA3AF9B}"/>
                </a:ext>
              </a:extLst>
            </p:cNvPr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080604" y="3247776"/>
              <a:ext cx="1934765" cy="284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576" tIns="34289" rIns="68576" bIns="34289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+mn-cs"/>
                </a:rPr>
                <a:t>22</a:t>
              </a:r>
              <a:r>
                <a:rPr kumimoji="0" lang="it-IT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+mn-cs"/>
                </a:rPr>
                <a:t> Partner Industriali</a:t>
              </a:r>
            </a:p>
          </p:txBody>
        </p:sp>
        <p:grpSp>
          <p:nvGrpSpPr>
            <p:cNvPr id="207" name="Grupp 5">
              <a:extLst>
                <a:ext uri="{FF2B5EF4-FFF2-40B4-BE49-F238E27FC236}">
                  <a16:creationId xmlns="" xmlns:a16="http://schemas.microsoft.com/office/drawing/2014/main" id="{40C7159D-4B01-4CD6-9A65-89839172136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667456" y="3191297"/>
              <a:ext cx="369094" cy="369095"/>
              <a:chOff x="555625" y="4620174"/>
              <a:chExt cx="492289" cy="492289"/>
            </a:xfrm>
          </p:grpSpPr>
          <p:sp>
            <p:nvSpPr>
              <p:cNvPr id="211" name="Ellips 59">
                <a:extLst>
                  <a:ext uri="{FF2B5EF4-FFF2-40B4-BE49-F238E27FC236}">
                    <a16:creationId xmlns="" xmlns:a16="http://schemas.microsoft.com/office/drawing/2014/main" id="{17D98779-2BA2-400D-959B-21899D3FEDDD}"/>
                  </a:ext>
                </a:extLst>
              </p:cNvPr>
              <p:cNvSpPr/>
              <p:nvPr/>
            </p:nvSpPr>
            <p:spPr bwMode="auto">
              <a:xfrm>
                <a:off x="555625" y="4620174"/>
                <a:ext cx="492289" cy="492289"/>
              </a:xfrm>
              <a:prstGeom prst="ellipse">
                <a:avLst/>
              </a:prstGeom>
              <a:solidFill>
                <a:srgbClr val="F08A00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72000" tIns="45720" rIns="72000" bIns="45720"/>
              <a:lstStyle/>
              <a:p>
                <a:pPr marL="0" marR="0" lvl="0" indent="0" algn="l" defTabSz="68573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8585A"/>
                  </a:solidFill>
                  <a:effectLst/>
                  <a:uLnTx/>
                  <a:uFillTx/>
                  <a:latin typeface="Calibri" panose="020F0502020204030204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212" name="Freeform 3">
                <a:extLst>
                  <a:ext uri="{FF2B5EF4-FFF2-40B4-BE49-F238E27FC236}">
                    <a16:creationId xmlns="" xmlns:a16="http://schemas.microsoft.com/office/drawing/2014/main" id="{9EFA2B67-048C-4F9D-9174-774295B79A6B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671552" y="4729734"/>
                <a:ext cx="260437" cy="273141"/>
              </a:xfrm>
              <a:custGeom>
                <a:avLst/>
                <a:gdLst>
                  <a:gd name="T0" fmla="*/ 2147483647 w 378"/>
                  <a:gd name="T1" fmla="*/ 2147483647 h 395"/>
                  <a:gd name="T2" fmla="*/ 2147483647 w 378"/>
                  <a:gd name="T3" fmla="*/ 2147483647 h 395"/>
                  <a:gd name="T4" fmla="*/ 2147483647 w 378"/>
                  <a:gd name="T5" fmla="*/ 2147483647 h 395"/>
                  <a:gd name="T6" fmla="*/ 2147483647 w 378"/>
                  <a:gd name="T7" fmla="*/ 2147483647 h 395"/>
                  <a:gd name="T8" fmla="*/ 2147483647 w 378"/>
                  <a:gd name="T9" fmla="*/ 2147483647 h 395"/>
                  <a:gd name="T10" fmla="*/ 2147483647 w 378"/>
                  <a:gd name="T11" fmla="*/ 2147483647 h 395"/>
                  <a:gd name="T12" fmla="*/ 2147483647 w 378"/>
                  <a:gd name="T13" fmla="*/ 2147483647 h 395"/>
                  <a:gd name="T14" fmla="*/ 2147483647 w 378"/>
                  <a:gd name="T15" fmla="*/ 2147483647 h 395"/>
                  <a:gd name="T16" fmla="*/ 2147483647 w 378"/>
                  <a:gd name="T17" fmla="*/ 2147483647 h 395"/>
                  <a:gd name="T18" fmla="*/ 2147483647 w 378"/>
                  <a:gd name="T19" fmla="*/ 2147483647 h 395"/>
                  <a:gd name="T20" fmla="*/ 2147483647 w 378"/>
                  <a:gd name="T21" fmla="*/ 2147483647 h 395"/>
                  <a:gd name="T22" fmla="*/ 2147483647 w 378"/>
                  <a:gd name="T23" fmla="*/ 2147483647 h 395"/>
                  <a:gd name="T24" fmla="*/ 2147483647 w 378"/>
                  <a:gd name="T25" fmla="*/ 2147483647 h 395"/>
                  <a:gd name="T26" fmla="*/ 2147483647 w 378"/>
                  <a:gd name="T27" fmla="*/ 2147483647 h 395"/>
                  <a:gd name="T28" fmla="*/ 2147483647 w 378"/>
                  <a:gd name="T29" fmla="*/ 2147483647 h 395"/>
                  <a:gd name="T30" fmla="*/ 2147483647 w 378"/>
                  <a:gd name="T31" fmla="*/ 2147483647 h 395"/>
                  <a:gd name="T32" fmla="*/ 2147483647 w 378"/>
                  <a:gd name="T33" fmla="*/ 2147483647 h 395"/>
                  <a:gd name="T34" fmla="*/ 2147483647 w 378"/>
                  <a:gd name="T35" fmla="*/ 2147483647 h 395"/>
                  <a:gd name="T36" fmla="*/ 2147483647 w 378"/>
                  <a:gd name="T37" fmla="*/ 2147483647 h 395"/>
                  <a:gd name="T38" fmla="*/ 2147483647 w 378"/>
                  <a:gd name="T39" fmla="*/ 2147483647 h 395"/>
                  <a:gd name="T40" fmla="*/ 2147483647 w 378"/>
                  <a:gd name="T41" fmla="*/ 2147483647 h 395"/>
                  <a:gd name="T42" fmla="*/ 2147483647 w 378"/>
                  <a:gd name="T43" fmla="*/ 2147483647 h 395"/>
                  <a:gd name="T44" fmla="*/ 2147483647 w 378"/>
                  <a:gd name="T45" fmla="*/ 2147483647 h 395"/>
                  <a:gd name="T46" fmla="*/ 2147483647 w 378"/>
                  <a:gd name="T47" fmla="*/ 2147483647 h 395"/>
                  <a:gd name="T48" fmla="*/ 2147483647 w 378"/>
                  <a:gd name="T49" fmla="*/ 2147483647 h 395"/>
                  <a:gd name="T50" fmla="*/ 2147483647 w 378"/>
                  <a:gd name="T51" fmla="*/ 2147483647 h 395"/>
                  <a:gd name="T52" fmla="*/ 2147483647 w 378"/>
                  <a:gd name="T53" fmla="*/ 2147483647 h 395"/>
                  <a:gd name="T54" fmla="*/ 2147483647 w 378"/>
                  <a:gd name="T55" fmla="*/ 2147483647 h 395"/>
                  <a:gd name="T56" fmla="*/ 2147483647 w 378"/>
                  <a:gd name="T57" fmla="*/ 2147483647 h 395"/>
                  <a:gd name="T58" fmla="*/ 2147483647 w 378"/>
                  <a:gd name="T59" fmla="*/ 2147483647 h 395"/>
                  <a:gd name="T60" fmla="*/ 2147483647 w 378"/>
                  <a:gd name="T61" fmla="*/ 2147483647 h 395"/>
                  <a:gd name="T62" fmla="*/ 2147483647 w 378"/>
                  <a:gd name="T63" fmla="*/ 2147483647 h 395"/>
                  <a:gd name="T64" fmla="*/ 2147483647 w 378"/>
                  <a:gd name="T65" fmla="*/ 2147483647 h 395"/>
                  <a:gd name="T66" fmla="*/ 2147483647 w 378"/>
                  <a:gd name="T67" fmla="*/ 2147483647 h 395"/>
                  <a:gd name="T68" fmla="*/ 2147483647 w 378"/>
                  <a:gd name="T69" fmla="*/ 2147483647 h 395"/>
                  <a:gd name="T70" fmla="*/ 2147483647 w 378"/>
                  <a:gd name="T71" fmla="*/ 2147483647 h 395"/>
                  <a:gd name="T72" fmla="*/ 2147483647 w 378"/>
                  <a:gd name="T73" fmla="*/ 2147483647 h 395"/>
                  <a:gd name="T74" fmla="*/ 2147483647 w 378"/>
                  <a:gd name="T75" fmla="*/ 2147483647 h 395"/>
                  <a:gd name="T76" fmla="*/ 2147483647 w 378"/>
                  <a:gd name="T77" fmla="*/ 2147483647 h 395"/>
                  <a:gd name="T78" fmla="*/ 2147483647 w 378"/>
                  <a:gd name="T79" fmla="*/ 2147483647 h 395"/>
                  <a:gd name="T80" fmla="*/ 2147483647 w 378"/>
                  <a:gd name="T81" fmla="*/ 2147483647 h 395"/>
                  <a:gd name="T82" fmla="*/ 2147483647 w 378"/>
                  <a:gd name="T83" fmla="*/ 2147483647 h 395"/>
                  <a:gd name="T84" fmla="*/ 2147483647 w 378"/>
                  <a:gd name="T85" fmla="*/ 2147483647 h 395"/>
                  <a:gd name="T86" fmla="*/ 2147483647 w 378"/>
                  <a:gd name="T87" fmla="*/ 2147483647 h 395"/>
                  <a:gd name="T88" fmla="*/ 2147483647 w 378"/>
                  <a:gd name="T89" fmla="*/ 2147483647 h 395"/>
                  <a:gd name="T90" fmla="*/ 2147483647 w 378"/>
                  <a:gd name="T91" fmla="*/ 2147483647 h 395"/>
                  <a:gd name="T92" fmla="*/ 2147483647 w 378"/>
                  <a:gd name="T93" fmla="*/ 2147483647 h 395"/>
                  <a:gd name="T94" fmla="*/ 2147483647 w 378"/>
                  <a:gd name="T95" fmla="*/ 2147483647 h 395"/>
                  <a:gd name="T96" fmla="*/ 2147483647 w 378"/>
                  <a:gd name="T97" fmla="*/ 2147483647 h 395"/>
                  <a:gd name="T98" fmla="*/ 2147483647 w 378"/>
                  <a:gd name="T99" fmla="*/ 2147483647 h 395"/>
                  <a:gd name="T100" fmla="*/ 2147483647 w 378"/>
                  <a:gd name="T101" fmla="*/ 2147483647 h 395"/>
                  <a:gd name="T102" fmla="*/ 2147483647 w 378"/>
                  <a:gd name="T103" fmla="*/ 2147483647 h 395"/>
                  <a:gd name="T104" fmla="*/ 2147483647 w 378"/>
                  <a:gd name="T105" fmla="*/ 2147483647 h 395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378" h="395">
                    <a:moveTo>
                      <a:pt x="370" y="90"/>
                    </a:moveTo>
                    <a:cubicBezTo>
                      <a:pt x="368" y="86"/>
                      <a:pt x="363" y="84"/>
                      <a:pt x="359" y="86"/>
                    </a:cubicBezTo>
                    <a:cubicBezTo>
                      <a:pt x="355" y="88"/>
                      <a:pt x="354" y="93"/>
                      <a:pt x="356" y="97"/>
                    </a:cubicBezTo>
                    <a:cubicBezTo>
                      <a:pt x="360" y="105"/>
                      <a:pt x="361" y="114"/>
                      <a:pt x="359" y="123"/>
                    </a:cubicBezTo>
                    <a:cubicBezTo>
                      <a:pt x="354" y="145"/>
                      <a:pt x="332" y="159"/>
                      <a:pt x="310" y="154"/>
                    </a:cubicBezTo>
                    <a:cubicBezTo>
                      <a:pt x="299" y="152"/>
                      <a:pt x="289" y="146"/>
                      <a:pt x="283" y="137"/>
                    </a:cubicBezTo>
                    <a:cubicBezTo>
                      <a:pt x="277" y="128"/>
                      <a:pt x="275" y="117"/>
                      <a:pt x="278" y="107"/>
                    </a:cubicBezTo>
                    <a:cubicBezTo>
                      <a:pt x="282" y="85"/>
                      <a:pt x="304" y="71"/>
                      <a:pt x="327" y="76"/>
                    </a:cubicBezTo>
                    <a:cubicBezTo>
                      <a:pt x="330" y="76"/>
                      <a:pt x="333" y="77"/>
                      <a:pt x="336" y="79"/>
                    </a:cubicBezTo>
                    <a:cubicBezTo>
                      <a:pt x="340" y="80"/>
                      <a:pt x="345" y="79"/>
                      <a:pt x="347" y="75"/>
                    </a:cubicBezTo>
                    <a:cubicBezTo>
                      <a:pt x="349" y="71"/>
                      <a:pt x="347" y="66"/>
                      <a:pt x="343" y="64"/>
                    </a:cubicBezTo>
                    <a:cubicBezTo>
                      <a:pt x="339" y="62"/>
                      <a:pt x="335" y="61"/>
                      <a:pt x="330" y="60"/>
                    </a:cubicBezTo>
                    <a:cubicBezTo>
                      <a:pt x="314" y="57"/>
                      <a:pt x="299" y="60"/>
                      <a:pt x="286" y="68"/>
                    </a:cubicBezTo>
                    <a:cubicBezTo>
                      <a:pt x="201" y="42"/>
                      <a:pt x="201" y="42"/>
                      <a:pt x="201" y="42"/>
                    </a:cubicBezTo>
                    <a:cubicBezTo>
                      <a:pt x="199" y="35"/>
                      <a:pt x="195" y="28"/>
                      <a:pt x="190" y="22"/>
                    </a:cubicBezTo>
                    <a:cubicBezTo>
                      <a:pt x="181" y="10"/>
                      <a:pt x="167" y="3"/>
                      <a:pt x="151" y="2"/>
                    </a:cubicBezTo>
                    <a:cubicBezTo>
                      <a:pt x="136" y="0"/>
                      <a:pt x="122" y="5"/>
                      <a:pt x="111" y="13"/>
                    </a:cubicBezTo>
                    <a:cubicBezTo>
                      <a:pt x="103" y="9"/>
                      <a:pt x="91" y="5"/>
                      <a:pt x="70" y="4"/>
                    </a:cubicBezTo>
                    <a:cubicBezTo>
                      <a:pt x="21" y="3"/>
                      <a:pt x="3" y="40"/>
                      <a:pt x="2" y="42"/>
                    </a:cubicBezTo>
                    <a:cubicBezTo>
                      <a:pt x="0" y="45"/>
                      <a:pt x="1" y="48"/>
                      <a:pt x="3" y="51"/>
                    </a:cubicBezTo>
                    <a:cubicBezTo>
                      <a:pt x="16" y="64"/>
                      <a:pt x="16" y="64"/>
                      <a:pt x="16" y="64"/>
                    </a:cubicBezTo>
                    <a:cubicBezTo>
                      <a:pt x="19" y="67"/>
                      <a:pt x="24" y="67"/>
                      <a:pt x="27" y="64"/>
                    </a:cubicBezTo>
                    <a:cubicBezTo>
                      <a:pt x="27" y="64"/>
                      <a:pt x="47" y="47"/>
                      <a:pt x="69" y="47"/>
                    </a:cubicBezTo>
                    <a:cubicBezTo>
                      <a:pt x="70" y="47"/>
                      <a:pt x="70" y="47"/>
                      <a:pt x="70" y="47"/>
                    </a:cubicBezTo>
                    <a:cubicBezTo>
                      <a:pt x="77" y="47"/>
                      <a:pt x="84" y="49"/>
                      <a:pt x="90" y="53"/>
                    </a:cubicBezTo>
                    <a:cubicBezTo>
                      <a:pt x="89" y="63"/>
                      <a:pt x="91" y="74"/>
                      <a:pt x="96" y="83"/>
                    </a:cubicBezTo>
                    <a:cubicBezTo>
                      <a:pt x="92" y="88"/>
                      <a:pt x="86" y="93"/>
                      <a:pt x="79" y="96"/>
                    </a:cubicBezTo>
                    <a:cubicBezTo>
                      <a:pt x="74" y="98"/>
                      <a:pt x="67" y="99"/>
                      <a:pt x="60" y="99"/>
                    </a:cubicBezTo>
                    <a:cubicBezTo>
                      <a:pt x="46" y="99"/>
                      <a:pt x="33" y="95"/>
                      <a:pt x="33" y="95"/>
                    </a:cubicBezTo>
                    <a:cubicBezTo>
                      <a:pt x="29" y="93"/>
                      <a:pt x="25" y="95"/>
                      <a:pt x="23" y="99"/>
                    </a:cubicBezTo>
                    <a:cubicBezTo>
                      <a:pt x="16" y="116"/>
                      <a:pt x="16" y="116"/>
                      <a:pt x="16" y="116"/>
                    </a:cubicBezTo>
                    <a:cubicBezTo>
                      <a:pt x="15" y="119"/>
                      <a:pt x="15" y="123"/>
                      <a:pt x="18" y="125"/>
                    </a:cubicBezTo>
                    <a:cubicBezTo>
                      <a:pt x="19" y="126"/>
                      <a:pt x="36" y="142"/>
                      <a:pt x="65" y="142"/>
                    </a:cubicBezTo>
                    <a:cubicBezTo>
                      <a:pt x="75" y="142"/>
                      <a:pt x="85" y="140"/>
                      <a:pt x="95" y="136"/>
                    </a:cubicBezTo>
                    <a:cubicBezTo>
                      <a:pt x="116" y="127"/>
                      <a:pt x="127" y="118"/>
                      <a:pt x="132" y="111"/>
                    </a:cubicBezTo>
                    <a:cubicBezTo>
                      <a:pt x="135" y="111"/>
                      <a:pt x="138" y="112"/>
                      <a:pt x="141" y="112"/>
                    </a:cubicBezTo>
                    <a:cubicBezTo>
                      <a:pt x="143" y="112"/>
                      <a:pt x="144" y="113"/>
                      <a:pt x="146" y="113"/>
                    </a:cubicBezTo>
                    <a:cubicBezTo>
                      <a:pt x="146" y="113"/>
                      <a:pt x="146" y="113"/>
                      <a:pt x="146" y="113"/>
                    </a:cubicBezTo>
                    <a:cubicBezTo>
                      <a:pt x="157" y="113"/>
                      <a:pt x="167" y="110"/>
                      <a:pt x="176" y="104"/>
                    </a:cubicBezTo>
                    <a:cubicBezTo>
                      <a:pt x="264" y="132"/>
                      <a:pt x="264" y="132"/>
                      <a:pt x="264" y="132"/>
                    </a:cubicBezTo>
                    <a:cubicBezTo>
                      <a:pt x="264" y="134"/>
                      <a:pt x="264" y="135"/>
                      <a:pt x="265" y="136"/>
                    </a:cubicBezTo>
                    <a:cubicBezTo>
                      <a:pt x="213" y="207"/>
                      <a:pt x="213" y="207"/>
                      <a:pt x="213" y="207"/>
                    </a:cubicBezTo>
                    <a:cubicBezTo>
                      <a:pt x="182" y="208"/>
                      <a:pt x="157" y="233"/>
                      <a:pt x="157" y="263"/>
                    </a:cubicBezTo>
                    <a:cubicBezTo>
                      <a:pt x="157" y="270"/>
                      <a:pt x="158" y="276"/>
                      <a:pt x="161" y="282"/>
                    </a:cubicBezTo>
                    <a:cubicBezTo>
                      <a:pt x="95" y="364"/>
                      <a:pt x="95" y="364"/>
                      <a:pt x="95" y="364"/>
                    </a:cubicBezTo>
                    <a:cubicBezTo>
                      <a:pt x="90" y="370"/>
                      <a:pt x="89" y="379"/>
                      <a:pt x="92" y="386"/>
                    </a:cubicBezTo>
                    <a:cubicBezTo>
                      <a:pt x="94" y="391"/>
                      <a:pt x="100" y="395"/>
                      <a:pt x="106" y="395"/>
                    </a:cubicBezTo>
                    <a:cubicBezTo>
                      <a:pt x="324" y="395"/>
                      <a:pt x="324" y="395"/>
                      <a:pt x="324" y="395"/>
                    </a:cubicBezTo>
                    <a:cubicBezTo>
                      <a:pt x="330" y="395"/>
                      <a:pt x="335" y="391"/>
                      <a:pt x="338" y="386"/>
                    </a:cubicBezTo>
                    <a:cubicBezTo>
                      <a:pt x="341" y="379"/>
                      <a:pt x="340" y="370"/>
                      <a:pt x="335" y="364"/>
                    </a:cubicBezTo>
                    <a:cubicBezTo>
                      <a:pt x="269" y="282"/>
                      <a:pt x="269" y="282"/>
                      <a:pt x="269" y="282"/>
                    </a:cubicBezTo>
                    <a:cubicBezTo>
                      <a:pt x="271" y="276"/>
                      <a:pt x="273" y="270"/>
                      <a:pt x="273" y="263"/>
                    </a:cubicBezTo>
                    <a:cubicBezTo>
                      <a:pt x="273" y="257"/>
                      <a:pt x="272" y="251"/>
                      <a:pt x="270" y="246"/>
                    </a:cubicBezTo>
                    <a:cubicBezTo>
                      <a:pt x="324" y="171"/>
                      <a:pt x="324" y="171"/>
                      <a:pt x="324" y="171"/>
                    </a:cubicBezTo>
                    <a:cubicBezTo>
                      <a:pt x="348" y="169"/>
                      <a:pt x="369" y="151"/>
                      <a:pt x="375" y="127"/>
                    </a:cubicBezTo>
                    <a:cubicBezTo>
                      <a:pt x="378" y="114"/>
                      <a:pt x="376" y="101"/>
                      <a:pt x="370" y="90"/>
                    </a:cubicBezTo>
                    <a:close/>
                    <a:moveTo>
                      <a:pt x="93" y="37"/>
                    </a:moveTo>
                    <a:cubicBezTo>
                      <a:pt x="87" y="33"/>
                      <a:pt x="79" y="31"/>
                      <a:pt x="70" y="31"/>
                    </a:cubicBezTo>
                    <a:cubicBezTo>
                      <a:pt x="69" y="31"/>
                      <a:pt x="69" y="31"/>
                      <a:pt x="69" y="31"/>
                    </a:cubicBezTo>
                    <a:cubicBezTo>
                      <a:pt x="49" y="31"/>
                      <a:pt x="31" y="41"/>
                      <a:pt x="23" y="47"/>
                    </a:cubicBezTo>
                    <a:cubicBezTo>
                      <a:pt x="19" y="44"/>
                      <a:pt x="19" y="44"/>
                      <a:pt x="19" y="44"/>
                    </a:cubicBezTo>
                    <a:cubicBezTo>
                      <a:pt x="25" y="36"/>
                      <a:pt x="40" y="20"/>
                      <a:pt x="70" y="20"/>
                    </a:cubicBezTo>
                    <a:cubicBezTo>
                      <a:pt x="84" y="21"/>
                      <a:pt x="93" y="23"/>
                      <a:pt x="100" y="25"/>
                    </a:cubicBezTo>
                    <a:cubicBezTo>
                      <a:pt x="97" y="29"/>
                      <a:pt x="95" y="32"/>
                      <a:pt x="93" y="37"/>
                    </a:cubicBezTo>
                    <a:close/>
                    <a:moveTo>
                      <a:pt x="89" y="121"/>
                    </a:moveTo>
                    <a:cubicBezTo>
                      <a:pt x="81" y="124"/>
                      <a:pt x="73" y="126"/>
                      <a:pt x="65" y="126"/>
                    </a:cubicBezTo>
                    <a:cubicBezTo>
                      <a:pt x="50" y="126"/>
                      <a:pt x="39" y="120"/>
                      <a:pt x="33" y="116"/>
                    </a:cubicBezTo>
                    <a:cubicBezTo>
                      <a:pt x="35" y="112"/>
                      <a:pt x="35" y="112"/>
                      <a:pt x="35" y="112"/>
                    </a:cubicBezTo>
                    <a:cubicBezTo>
                      <a:pt x="41" y="114"/>
                      <a:pt x="50" y="115"/>
                      <a:pt x="60" y="115"/>
                    </a:cubicBezTo>
                    <a:cubicBezTo>
                      <a:pt x="69" y="115"/>
                      <a:pt x="78" y="114"/>
                      <a:pt x="85" y="111"/>
                    </a:cubicBezTo>
                    <a:cubicBezTo>
                      <a:pt x="94" y="107"/>
                      <a:pt x="101" y="102"/>
                      <a:pt x="106" y="96"/>
                    </a:cubicBezTo>
                    <a:cubicBezTo>
                      <a:pt x="109" y="99"/>
                      <a:pt x="113" y="102"/>
                      <a:pt x="117" y="104"/>
                    </a:cubicBezTo>
                    <a:cubicBezTo>
                      <a:pt x="112" y="109"/>
                      <a:pt x="104" y="115"/>
                      <a:pt x="89" y="121"/>
                    </a:cubicBezTo>
                    <a:close/>
                    <a:moveTo>
                      <a:pt x="187" y="61"/>
                    </a:moveTo>
                    <a:cubicBezTo>
                      <a:pt x="185" y="82"/>
                      <a:pt x="165" y="98"/>
                      <a:pt x="142" y="96"/>
                    </a:cubicBezTo>
                    <a:cubicBezTo>
                      <a:pt x="131" y="95"/>
                      <a:pt x="121" y="90"/>
                      <a:pt x="114" y="82"/>
                    </a:cubicBezTo>
                    <a:cubicBezTo>
                      <a:pt x="108" y="74"/>
                      <a:pt x="105" y="64"/>
                      <a:pt x="106" y="53"/>
                    </a:cubicBezTo>
                    <a:cubicBezTo>
                      <a:pt x="107" y="33"/>
                      <a:pt x="125" y="18"/>
                      <a:pt x="146" y="18"/>
                    </a:cubicBezTo>
                    <a:cubicBezTo>
                      <a:pt x="147" y="18"/>
                      <a:pt x="149" y="18"/>
                      <a:pt x="150" y="18"/>
                    </a:cubicBezTo>
                    <a:cubicBezTo>
                      <a:pt x="161" y="19"/>
                      <a:pt x="171" y="24"/>
                      <a:pt x="178" y="32"/>
                    </a:cubicBezTo>
                    <a:cubicBezTo>
                      <a:pt x="185" y="40"/>
                      <a:pt x="188" y="50"/>
                      <a:pt x="187" y="61"/>
                    </a:cubicBezTo>
                    <a:close/>
                    <a:moveTo>
                      <a:pt x="262" y="103"/>
                    </a:moveTo>
                    <a:cubicBezTo>
                      <a:pt x="261" y="107"/>
                      <a:pt x="261" y="111"/>
                      <a:pt x="261" y="115"/>
                    </a:cubicBezTo>
                    <a:cubicBezTo>
                      <a:pt x="190" y="92"/>
                      <a:pt x="190" y="92"/>
                      <a:pt x="190" y="92"/>
                    </a:cubicBezTo>
                    <a:cubicBezTo>
                      <a:pt x="197" y="84"/>
                      <a:pt x="202" y="74"/>
                      <a:pt x="203" y="62"/>
                    </a:cubicBezTo>
                    <a:cubicBezTo>
                      <a:pt x="203" y="61"/>
                      <a:pt x="203" y="60"/>
                      <a:pt x="203" y="59"/>
                    </a:cubicBezTo>
                    <a:cubicBezTo>
                      <a:pt x="273" y="81"/>
                      <a:pt x="273" y="81"/>
                      <a:pt x="273" y="81"/>
                    </a:cubicBezTo>
                    <a:cubicBezTo>
                      <a:pt x="268" y="87"/>
                      <a:pt x="264" y="95"/>
                      <a:pt x="262" y="103"/>
                    </a:cubicBezTo>
                    <a:close/>
                    <a:moveTo>
                      <a:pt x="215" y="223"/>
                    </a:moveTo>
                    <a:cubicBezTo>
                      <a:pt x="238" y="223"/>
                      <a:pt x="257" y="241"/>
                      <a:pt x="257" y="263"/>
                    </a:cubicBezTo>
                    <a:cubicBezTo>
                      <a:pt x="257" y="286"/>
                      <a:pt x="238" y="304"/>
                      <a:pt x="215" y="304"/>
                    </a:cubicBezTo>
                    <a:cubicBezTo>
                      <a:pt x="192" y="304"/>
                      <a:pt x="173" y="286"/>
                      <a:pt x="173" y="263"/>
                    </a:cubicBezTo>
                    <a:cubicBezTo>
                      <a:pt x="173" y="241"/>
                      <a:pt x="192" y="223"/>
                      <a:pt x="215" y="223"/>
                    </a:cubicBezTo>
                    <a:close/>
                    <a:moveTo>
                      <a:pt x="323" y="374"/>
                    </a:moveTo>
                    <a:cubicBezTo>
                      <a:pt x="324" y="376"/>
                      <a:pt x="324" y="378"/>
                      <a:pt x="324" y="379"/>
                    </a:cubicBezTo>
                    <a:cubicBezTo>
                      <a:pt x="106" y="379"/>
                      <a:pt x="106" y="379"/>
                      <a:pt x="106" y="379"/>
                    </a:cubicBezTo>
                    <a:cubicBezTo>
                      <a:pt x="106" y="378"/>
                      <a:pt x="106" y="376"/>
                      <a:pt x="107" y="374"/>
                    </a:cubicBezTo>
                    <a:cubicBezTo>
                      <a:pt x="169" y="297"/>
                      <a:pt x="169" y="297"/>
                      <a:pt x="169" y="297"/>
                    </a:cubicBezTo>
                    <a:cubicBezTo>
                      <a:pt x="179" y="311"/>
                      <a:pt x="196" y="320"/>
                      <a:pt x="215" y="320"/>
                    </a:cubicBezTo>
                    <a:cubicBezTo>
                      <a:pt x="234" y="320"/>
                      <a:pt x="250" y="311"/>
                      <a:pt x="261" y="297"/>
                    </a:cubicBezTo>
                    <a:lnTo>
                      <a:pt x="323" y="374"/>
                    </a:lnTo>
                    <a:close/>
                    <a:moveTo>
                      <a:pt x="261" y="230"/>
                    </a:moveTo>
                    <a:cubicBezTo>
                      <a:pt x="254" y="220"/>
                      <a:pt x="244" y="213"/>
                      <a:pt x="232" y="210"/>
                    </a:cubicBezTo>
                    <a:cubicBezTo>
                      <a:pt x="274" y="151"/>
                      <a:pt x="274" y="151"/>
                      <a:pt x="274" y="151"/>
                    </a:cubicBezTo>
                    <a:cubicBezTo>
                      <a:pt x="282" y="160"/>
                      <a:pt x="293" y="167"/>
                      <a:pt x="305" y="170"/>
                    </a:cubicBezTo>
                    <a:lnTo>
                      <a:pt x="261" y="23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58585A"/>
                  </a:solidFill>
                  <a:effectLst/>
                  <a:uLnTx/>
                  <a:uFillTx/>
                  <a:latin typeface="Calibri" panose="020F0502020204030204"/>
                  <a:ea typeface="MS PGothic" pitchFamily="34" charset="-128"/>
                  <a:cs typeface="+mn-cs"/>
                </a:endParaRPr>
              </a:p>
            </p:txBody>
          </p:sp>
        </p:grpSp>
        <p:sp>
          <p:nvSpPr>
            <p:cNvPr id="208" name="TextBox 170">
              <a:extLst>
                <a:ext uri="{FF2B5EF4-FFF2-40B4-BE49-F238E27FC236}">
                  <a16:creationId xmlns="" xmlns:a16="http://schemas.microsoft.com/office/drawing/2014/main" id="{0477E14A-0E05-485C-8C7B-10C670EB4875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080603" y="3577425"/>
              <a:ext cx="2657982" cy="5001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576" tIns="34289" rIns="68576" bIns="34289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+mn-cs"/>
                </a:rPr>
                <a:t>45</a:t>
              </a:r>
              <a:r>
                <a:rPr kumimoji="0" lang="it-IT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ＭＳ Ｐゴシック" pitchFamily="34" charset="-128"/>
                  <a:cs typeface="+mn-cs"/>
                </a:rPr>
                <a:t> Collaborazioni con Università e Istituti di Ricerca</a:t>
              </a:r>
            </a:p>
          </p:txBody>
        </p:sp>
        <p:sp>
          <p:nvSpPr>
            <p:cNvPr id="209" name="Ellips 60">
              <a:extLst>
                <a:ext uri="{FF2B5EF4-FFF2-40B4-BE49-F238E27FC236}">
                  <a16:creationId xmlns="" xmlns:a16="http://schemas.microsoft.com/office/drawing/2014/main" id="{65C169E8-F99D-42E0-9C1D-71A000453E3A}"/>
                </a:ext>
              </a:extLst>
            </p:cNvPr>
            <p:cNvSpPr/>
            <p:nvPr/>
          </p:nvSpPr>
          <p:spPr bwMode="auto">
            <a:xfrm>
              <a:off x="2667456" y="3642945"/>
              <a:ext cx="369094" cy="369094"/>
            </a:xfrm>
            <a:prstGeom prst="ellipse">
              <a:avLst/>
            </a:prstGeom>
            <a:solidFill>
              <a:srgbClr val="00A9D4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72000" tIns="45720" rIns="72000" bIns="45720"/>
            <a:lstStyle/>
            <a:p>
              <a:pPr marL="0" marR="0" lvl="0" indent="0" algn="l" defTabSz="6857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00A9D4"/>
                </a:solidFill>
                <a:effectLst/>
                <a:uLnTx/>
                <a:uFillTx/>
                <a:latin typeface="Calibri" panose="020F0502020204030204"/>
                <a:ea typeface="MS PGothic" pitchFamily="34" charset="-128"/>
                <a:cs typeface="+mn-cs"/>
              </a:endParaRPr>
            </a:p>
          </p:txBody>
        </p:sp>
        <p:sp>
          <p:nvSpPr>
            <p:cNvPr id="210" name="Freeform 3">
              <a:extLst>
                <a:ext uri="{FF2B5EF4-FFF2-40B4-BE49-F238E27FC236}">
                  <a16:creationId xmlns="" xmlns:a16="http://schemas.microsoft.com/office/drawing/2014/main" id="{C2514458-6194-4EA4-88D2-170F2910E4F7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719843" y="3716763"/>
              <a:ext cx="264319" cy="192882"/>
            </a:xfrm>
            <a:custGeom>
              <a:avLst/>
              <a:gdLst>
                <a:gd name="T0" fmla="*/ 2147483647 w 460"/>
                <a:gd name="T1" fmla="*/ 2147483647 h 336"/>
                <a:gd name="T2" fmla="*/ 2147483647 w 460"/>
                <a:gd name="T3" fmla="*/ 2147483647 h 336"/>
                <a:gd name="T4" fmla="*/ 2147483647 w 460"/>
                <a:gd name="T5" fmla="*/ 2147483647 h 336"/>
                <a:gd name="T6" fmla="*/ 2147483647 w 460"/>
                <a:gd name="T7" fmla="*/ 2147483647 h 336"/>
                <a:gd name="T8" fmla="*/ 2147483647 w 460"/>
                <a:gd name="T9" fmla="*/ 2147483647 h 336"/>
                <a:gd name="T10" fmla="*/ 2147483647 w 460"/>
                <a:gd name="T11" fmla="*/ 2147483647 h 336"/>
                <a:gd name="T12" fmla="*/ 2147483647 w 460"/>
                <a:gd name="T13" fmla="*/ 2147483647 h 336"/>
                <a:gd name="T14" fmla="*/ 2147483647 w 460"/>
                <a:gd name="T15" fmla="*/ 2147483647 h 336"/>
                <a:gd name="T16" fmla="*/ 2147483647 w 460"/>
                <a:gd name="T17" fmla="*/ 2147483647 h 336"/>
                <a:gd name="T18" fmla="*/ 2147483647 w 460"/>
                <a:gd name="T19" fmla="*/ 2147483647 h 336"/>
                <a:gd name="T20" fmla="*/ 2147483647 w 460"/>
                <a:gd name="T21" fmla="*/ 2147483647 h 336"/>
                <a:gd name="T22" fmla="*/ 2147483647 w 460"/>
                <a:gd name="T23" fmla="*/ 2147483647 h 336"/>
                <a:gd name="T24" fmla="*/ 2147483647 w 460"/>
                <a:gd name="T25" fmla="*/ 2147483647 h 336"/>
                <a:gd name="T26" fmla="*/ 2147483647 w 460"/>
                <a:gd name="T27" fmla="*/ 2147483647 h 336"/>
                <a:gd name="T28" fmla="*/ 2147483647 w 460"/>
                <a:gd name="T29" fmla="*/ 2147483647 h 336"/>
                <a:gd name="T30" fmla="*/ 2147483647 w 460"/>
                <a:gd name="T31" fmla="*/ 2147483647 h 336"/>
                <a:gd name="T32" fmla="*/ 2147483647 w 460"/>
                <a:gd name="T33" fmla="*/ 2147483647 h 336"/>
                <a:gd name="T34" fmla="*/ 2147483647 w 460"/>
                <a:gd name="T35" fmla="*/ 2147483647 h 336"/>
                <a:gd name="T36" fmla="*/ 2147483647 w 460"/>
                <a:gd name="T37" fmla="*/ 2147483647 h 336"/>
                <a:gd name="T38" fmla="*/ 2147483647 w 460"/>
                <a:gd name="T39" fmla="*/ 2147483647 h 336"/>
                <a:gd name="T40" fmla="*/ 2147483647 w 460"/>
                <a:gd name="T41" fmla="*/ 2147483647 h 336"/>
                <a:gd name="T42" fmla="*/ 2147483647 w 460"/>
                <a:gd name="T43" fmla="*/ 2147483647 h 336"/>
                <a:gd name="T44" fmla="*/ 2147483647 w 460"/>
                <a:gd name="T45" fmla="*/ 2147483647 h 336"/>
                <a:gd name="T46" fmla="*/ 2147483647 w 460"/>
                <a:gd name="T47" fmla="*/ 2147483647 h 336"/>
                <a:gd name="T48" fmla="*/ 2147483647 w 460"/>
                <a:gd name="T49" fmla="*/ 2147483647 h 336"/>
                <a:gd name="T50" fmla="*/ 2147483647 w 460"/>
                <a:gd name="T51" fmla="*/ 2147483647 h 336"/>
                <a:gd name="T52" fmla="*/ 2147483647 w 460"/>
                <a:gd name="T53" fmla="*/ 2147483647 h 336"/>
                <a:gd name="T54" fmla="*/ 2147483647 w 460"/>
                <a:gd name="T55" fmla="*/ 2147483647 h 336"/>
                <a:gd name="T56" fmla="*/ 2147483647 w 460"/>
                <a:gd name="T57" fmla="*/ 2147483647 h 336"/>
                <a:gd name="T58" fmla="*/ 2147483647 w 460"/>
                <a:gd name="T59" fmla="*/ 2147483647 h 336"/>
                <a:gd name="T60" fmla="*/ 2147483647 w 460"/>
                <a:gd name="T61" fmla="*/ 2147483647 h 336"/>
                <a:gd name="T62" fmla="*/ 2147483647 w 460"/>
                <a:gd name="T63" fmla="*/ 2147483647 h 336"/>
                <a:gd name="T64" fmla="*/ 2147483647 w 460"/>
                <a:gd name="T65" fmla="*/ 2147483647 h 336"/>
                <a:gd name="T66" fmla="*/ 2147483647 w 460"/>
                <a:gd name="T67" fmla="*/ 2147483647 h 336"/>
                <a:gd name="T68" fmla="*/ 2147483647 w 460"/>
                <a:gd name="T69" fmla="*/ 2147483647 h 336"/>
                <a:gd name="T70" fmla="*/ 2147483647 w 460"/>
                <a:gd name="T71" fmla="*/ 2147483647 h 336"/>
                <a:gd name="T72" fmla="*/ 2147483647 w 460"/>
                <a:gd name="T73" fmla="*/ 2147483647 h 336"/>
                <a:gd name="T74" fmla="*/ 2147483647 w 460"/>
                <a:gd name="T75" fmla="*/ 2147483647 h 336"/>
                <a:gd name="T76" fmla="*/ 2147483647 w 460"/>
                <a:gd name="T77" fmla="*/ 2147483647 h 336"/>
                <a:gd name="T78" fmla="*/ 2147483647 w 460"/>
                <a:gd name="T79" fmla="*/ 2147483647 h 336"/>
                <a:gd name="T80" fmla="*/ 2147483647 w 460"/>
                <a:gd name="T81" fmla="*/ 2147483647 h 336"/>
                <a:gd name="T82" fmla="*/ 2147483647 w 460"/>
                <a:gd name="T83" fmla="*/ 2147483647 h 336"/>
                <a:gd name="T84" fmla="*/ 2147483647 w 460"/>
                <a:gd name="T85" fmla="*/ 2147483647 h 336"/>
                <a:gd name="T86" fmla="*/ 2147483647 w 460"/>
                <a:gd name="T87" fmla="*/ 2147483647 h 336"/>
                <a:gd name="T88" fmla="*/ 2147483647 w 460"/>
                <a:gd name="T89" fmla="*/ 2147483647 h 336"/>
                <a:gd name="T90" fmla="*/ 2147483647 w 460"/>
                <a:gd name="T91" fmla="*/ 2147483647 h 336"/>
                <a:gd name="T92" fmla="*/ 2147483647 w 460"/>
                <a:gd name="T93" fmla="*/ 2147483647 h 3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60" h="336">
                  <a:moveTo>
                    <a:pt x="456" y="134"/>
                  </a:moveTo>
                  <a:cubicBezTo>
                    <a:pt x="399" y="109"/>
                    <a:pt x="399" y="109"/>
                    <a:pt x="399" y="109"/>
                  </a:cubicBezTo>
                  <a:cubicBezTo>
                    <a:pt x="395" y="107"/>
                    <a:pt x="390" y="109"/>
                    <a:pt x="388" y="113"/>
                  </a:cubicBezTo>
                  <a:cubicBezTo>
                    <a:pt x="386" y="117"/>
                    <a:pt x="388" y="122"/>
                    <a:pt x="392" y="124"/>
                  </a:cubicBezTo>
                  <a:cubicBezTo>
                    <a:pt x="392" y="124"/>
                    <a:pt x="392" y="124"/>
                    <a:pt x="392" y="124"/>
                  </a:cubicBezTo>
                  <a:cubicBezTo>
                    <a:pt x="432" y="141"/>
                    <a:pt x="432" y="141"/>
                    <a:pt x="432" y="141"/>
                  </a:cubicBezTo>
                  <a:cubicBezTo>
                    <a:pt x="363" y="171"/>
                    <a:pt x="363" y="171"/>
                    <a:pt x="363" y="171"/>
                  </a:cubicBezTo>
                  <a:cubicBezTo>
                    <a:pt x="363" y="171"/>
                    <a:pt x="363" y="171"/>
                    <a:pt x="363" y="171"/>
                  </a:cubicBezTo>
                  <a:cubicBezTo>
                    <a:pt x="230" y="228"/>
                    <a:pt x="230" y="228"/>
                    <a:pt x="230" y="228"/>
                  </a:cubicBezTo>
                  <a:cubicBezTo>
                    <a:pt x="27" y="141"/>
                    <a:pt x="27" y="141"/>
                    <a:pt x="27" y="141"/>
                  </a:cubicBezTo>
                  <a:cubicBezTo>
                    <a:pt x="59" y="126"/>
                    <a:pt x="59" y="126"/>
                    <a:pt x="59" y="126"/>
                  </a:cubicBezTo>
                  <a:cubicBezTo>
                    <a:pt x="59" y="126"/>
                    <a:pt x="59" y="126"/>
                    <a:pt x="59" y="126"/>
                  </a:cubicBezTo>
                  <a:cubicBezTo>
                    <a:pt x="103" y="105"/>
                    <a:pt x="103" y="105"/>
                    <a:pt x="103" y="105"/>
                  </a:cubicBezTo>
                  <a:cubicBezTo>
                    <a:pt x="103" y="105"/>
                    <a:pt x="103" y="105"/>
                    <a:pt x="103" y="105"/>
                  </a:cubicBezTo>
                  <a:cubicBezTo>
                    <a:pt x="140" y="88"/>
                    <a:pt x="140" y="88"/>
                    <a:pt x="140" y="88"/>
                  </a:cubicBezTo>
                  <a:cubicBezTo>
                    <a:pt x="140" y="88"/>
                    <a:pt x="140" y="88"/>
                    <a:pt x="140" y="88"/>
                  </a:cubicBezTo>
                  <a:cubicBezTo>
                    <a:pt x="165" y="76"/>
                    <a:pt x="165" y="76"/>
                    <a:pt x="165" y="76"/>
                  </a:cubicBezTo>
                  <a:cubicBezTo>
                    <a:pt x="171" y="81"/>
                    <a:pt x="177" y="87"/>
                    <a:pt x="182" y="93"/>
                  </a:cubicBezTo>
                  <a:cubicBezTo>
                    <a:pt x="194" y="105"/>
                    <a:pt x="205" y="117"/>
                    <a:pt x="212" y="126"/>
                  </a:cubicBezTo>
                  <a:cubicBezTo>
                    <a:pt x="219" y="135"/>
                    <a:pt x="223" y="140"/>
                    <a:pt x="223" y="141"/>
                  </a:cubicBezTo>
                  <a:cubicBezTo>
                    <a:pt x="223" y="141"/>
                    <a:pt x="223" y="141"/>
                    <a:pt x="223" y="141"/>
                  </a:cubicBezTo>
                  <a:cubicBezTo>
                    <a:pt x="223" y="141"/>
                    <a:pt x="224" y="141"/>
                    <a:pt x="224" y="141"/>
                  </a:cubicBezTo>
                  <a:cubicBezTo>
                    <a:pt x="224" y="141"/>
                    <a:pt x="224" y="141"/>
                    <a:pt x="224" y="142"/>
                  </a:cubicBezTo>
                  <a:cubicBezTo>
                    <a:pt x="224" y="142"/>
                    <a:pt x="224" y="142"/>
                    <a:pt x="224" y="142"/>
                  </a:cubicBezTo>
                  <a:cubicBezTo>
                    <a:pt x="225" y="142"/>
                    <a:pt x="225" y="143"/>
                    <a:pt x="225" y="143"/>
                  </a:cubicBezTo>
                  <a:cubicBezTo>
                    <a:pt x="225" y="143"/>
                    <a:pt x="225" y="143"/>
                    <a:pt x="225" y="143"/>
                  </a:cubicBezTo>
                  <a:cubicBezTo>
                    <a:pt x="226" y="143"/>
                    <a:pt x="226" y="143"/>
                    <a:pt x="226" y="143"/>
                  </a:cubicBezTo>
                  <a:cubicBezTo>
                    <a:pt x="226" y="144"/>
                    <a:pt x="227" y="144"/>
                    <a:pt x="227" y="144"/>
                  </a:cubicBezTo>
                  <a:cubicBezTo>
                    <a:pt x="227" y="144"/>
                    <a:pt x="227" y="144"/>
                    <a:pt x="228" y="144"/>
                  </a:cubicBezTo>
                  <a:cubicBezTo>
                    <a:pt x="228" y="144"/>
                    <a:pt x="228" y="144"/>
                    <a:pt x="228" y="144"/>
                  </a:cubicBezTo>
                  <a:cubicBezTo>
                    <a:pt x="229" y="144"/>
                    <a:pt x="229" y="145"/>
                    <a:pt x="230" y="145"/>
                  </a:cubicBezTo>
                  <a:cubicBezTo>
                    <a:pt x="230" y="145"/>
                    <a:pt x="230" y="145"/>
                    <a:pt x="230" y="145"/>
                  </a:cubicBezTo>
                  <a:cubicBezTo>
                    <a:pt x="230" y="145"/>
                    <a:pt x="230" y="145"/>
                    <a:pt x="230" y="145"/>
                  </a:cubicBezTo>
                  <a:cubicBezTo>
                    <a:pt x="231" y="145"/>
                    <a:pt x="231" y="144"/>
                    <a:pt x="232" y="144"/>
                  </a:cubicBezTo>
                  <a:cubicBezTo>
                    <a:pt x="232" y="144"/>
                    <a:pt x="232" y="144"/>
                    <a:pt x="232" y="144"/>
                  </a:cubicBezTo>
                  <a:cubicBezTo>
                    <a:pt x="232" y="144"/>
                    <a:pt x="232" y="144"/>
                    <a:pt x="232" y="144"/>
                  </a:cubicBezTo>
                  <a:cubicBezTo>
                    <a:pt x="232" y="144"/>
                    <a:pt x="233" y="144"/>
                    <a:pt x="233" y="144"/>
                  </a:cubicBezTo>
                  <a:cubicBezTo>
                    <a:pt x="233" y="144"/>
                    <a:pt x="233" y="144"/>
                    <a:pt x="233" y="144"/>
                  </a:cubicBezTo>
                  <a:cubicBezTo>
                    <a:pt x="233" y="144"/>
                    <a:pt x="233" y="144"/>
                    <a:pt x="233" y="144"/>
                  </a:cubicBezTo>
                  <a:cubicBezTo>
                    <a:pt x="233" y="144"/>
                    <a:pt x="233" y="144"/>
                    <a:pt x="233" y="144"/>
                  </a:cubicBezTo>
                  <a:cubicBezTo>
                    <a:pt x="234" y="144"/>
                    <a:pt x="234" y="143"/>
                    <a:pt x="234" y="143"/>
                  </a:cubicBezTo>
                  <a:cubicBezTo>
                    <a:pt x="234" y="143"/>
                    <a:pt x="234" y="143"/>
                    <a:pt x="235" y="143"/>
                  </a:cubicBezTo>
                  <a:cubicBezTo>
                    <a:pt x="235" y="143"/>
                    <a:pt x="235" y="143"/>
                    <a:pt x="235" y="143"/>
                  </a:cubicBezTo>
                  <a:cubicBezTo>
                    <a:pt x="235" y="143"/>
                    <a:pt x="235" y="143"/>
                    <a:pt x="235" y="143"/>
                  </a:cubicBezTo>
                  <a:cubicBezTo>
                    <a:pt x="235" y="143"/>
                    <a:pt x="235" y="143"/>
                    <a:pt x="235" y="143"/>
                  </a:cubicBezTo>
                  <a:cubicBezTo>
                    <a:pt x="235" y="143"/>
                    <a:pt x="235" y="143"/>
                    <a:pt x="235" y="142"/>
                  </a:cubicBezTo>
                  <a:cubicBezTo>
                    <a:pt x="236" y="142"/>
                    <a:pt x="236" y="142"/>
                    <a:pt x="236" y="142"/>
                  </a:cubicBezTo>
                  <a:cubicBezTo>
                    <a:pt x="236" y="142"/>
                    <a:pt x="236" y="142"/>
                    <a:pt x="236" y="142"/>
                  </a:cubicBezTo>
                  <a:cubicBezTo>
                    <a:pt x="236" y="142"/>
                    <a:pt x="236" y="141"/>
                    <a:pt x="236" y="141"/>
                  </a:cubicBezTo>
                  <a:cubicBezTo>
                    <a:pt x="236" y="141"/>
                    <a:pt x="236" y="141"/>
                    <a:pt x="237" y="141"/>
                  </a:cubicBezTo>
                  <a:cubicBezTo>
                    <a:pt x="237" y="141"/>
                    <a:pt x="237" y="141"/>
                    <a:pt x="237" y="141"/>
                  </a:cubicBezTo>
                  <a:cubicBezTo>
                    <a:pt x="237" y="141"/>
                    <a:pt x="237" y="141"/>
                    <a:pt x="237" y="141"/>
                  </a:cubicBezTo>
                  <a:cubicBezTo>
                    <a:pt x="237" y="140"/>
                    <a:pt x="237" y="140"/>
                    <a:pt x="237" y="140"/>
                  </a:cubicBezTo>
                  <a:cubicBezTo>
                    <a:pt x="237" y="140"/>
                    <a:pt x="237" y="139"/>
                    <a:pt x="238" y="139"/>
                  </a:cubicBezTo>
                  <a:cubicBezTo>
                    <a:pt x="238" y="139"/>
                    <a:pt x="238" y="139"/>
                    <a:pt x="238" y="138"/>
                  </a:cubicBezTo>
                  <a:cubicBezTo>
                    <a:pt x="238" y="138"/>
                    <a:pt x="238" y="138"/>
                    <a:pt x="238" y="138"/>
                  </a:cubicBezTo>
                  <a:cubicBezTo>
                    <a:pt x="238" y="137"/>
                    <a:pt x="238" y="137"/>
                    <a:pt x="238" y="137"/>
                  </a:cubicBezTo>
                  <a:cubicBezTo>
                    <a:pt x="238" y="137"/>
                    <a:pt x="238" y="136"/>
                    <a:pt x="238" y="136"/>
                  </a:cubicBezTo>
                  <a:cubicBezTo>
                    <a:pt x="238" y="136"/>
                    <a:pt x="238" y="136"/>
                    <a:pt x="238" y="135"/>
                  </a:cubicBezTo>
                  <a:cubicBezTo>
                    <a:pt x="238" y="135"/>
                    <a:pt x="238" y="135"/>
                    <a:pt x="238" y="135"/>
                  </a:cubicBezTo>
                  <a:cubicBezTo>
                    <a:pt x="238" y="135"/>
                    <a:pt x="238" y="135"/>
                    <a:pt x="238" y="135"/>
                  </a:cubicBezTo>
                  <a:cubicBezTo>
                    <a:pt x="238" y="135"/>
                    <a:pt x="238" y="135"/>
                    <a:pt x="238" y="135"/>
                  </a:cubicBezTo>
                  <a:cubicBezTo>
                    <a:pt x="238" y="135"/>
                    <a:pt x="238" y="134"/>
                    <a:pt x="238" y="134"/>
                  </a:cubicBezTo>
                  <a:cubicBezTo>
                    <a:pt x="238" y="134"/>
                    <a:pt x="238" y="134"/>
                    <a:pt x="238" y="134"/>
                  </a:cubicBezTo>
                  <a:cubicBezTo>
                    <a:pt x="238" y="134"/>
                    <a:pt x="229" y="102"/>
                    <a:pt x="216" y="69"/>
                  </a:cubicBezTo>
                  <a:cubicBezTo>
                    <a:pt x="214" y="64"/>
                    <a:pt x="212" y="59"/>
                    <a:pt x="210" y="55"/>
                  </a:cubicBezTo>
                  <a:cubicBezTo>
                    <a:pt x="230" y="45"/>
                    <a:pt x="230" y="45"/>
                    <a:pt x="230" y="45"/>
                  </a:cubicBezTo>
                  <a:cubicBezTo>
                    <a:pt x="362" y="110"/>
                    <a:pt x="362" y="110"/>
                    <a:pt x="362" y="110"/>
                  </a:cubicBezTo>
                  <a:cubicBezTo>
                    <a:pt x="366" y="112"/>
                    <a:pt x="371" y="111"/>
                    <a:pt x="373" y="107"/>
                  </a:cubicBezTo>
                  <a:cubicBezTo>
                    <a:pt x="375" y="103"/>
                    <a:pt x="373" y="98"/>
                    <a:pt x="369" y="96"/>
                  </a:cubicBezTo>
                  <a:cubicBezTo>
                    <a:pt x="234" y="29"/>
                    <a:pt x="234" y="29"/>
                    <a:pt x="234" y="29"/>
                  </a:cubicBezTo>
                  <a:cubicBezTo>
                    <a:pt x="231" y="28"/>
                    <a:pt x="229" y="28"/>
                    <a:pt x="227" y="29"/>
                  </a:cubicBezTo>
                  <a:cubicBezTo>
                    <a:pt x="203" y="40"/>
                    <a:pt x="203" y="40"/>
                    <a:pt x="203" y="40"/>
                  </a:cubicBezTo>
                  <a:cubicBezTo>
                    <a:pt x="200" y="34"/>
                    <a:pt x="197" y="29"/>
                    <a:pt x="194" y="24"/>
                  </a:cubicBezTo>
                  <a:cubicBezTo>
                    <a:pt x="190" y="17"/>
                    <a:pt x="186" y="12"/>
                    <a:pt x="181" y="7"/>
                  </a:cubicBezTo>
                  <a:cubicBezTo>
                    <a:pt x="177" y="3"/>
                    <a:pt x="171" y="0"/>
                    <a:pt x="164" y="0"/>
                  </a:cubicBezTo>
                  <a:cubicBezTo>
                    <a:pt x="159" y="0"/>
                    <a:pt x="154" y="2"/>
                    <a:pt x="151" y="6"/>
                  </a:cubicBezTo>
                  <a:cubicBezTo>
                    <a:pt x="148" y="8"/>
                    <a:pt x="146" y="11"/>
                    <a:pt x="144" y="15"/>
                  </a:cubicBezTo>
                  <a:cubicBezTo>
                    <a:pt x="142" y="14"/>
                    <a:pt x="140" y="14"/>
                    <a:pt x="137" y="14"/>
                  </a:cubicBezTo>
                  <a:cubicBezTo>
                    <a:pt x="127" y="13"/>
                    <a:pt x="117" y="20"/>
                    <a:pt x="111" y="30"/>
                  </a:cubicBezTo>
                  <a:cubicBezTo>
                    <a:pt x="109" y="30"/>
                    <a:pt x="108" y="30"/>
                    <a:pt x="107" y="30"/>
                  </a:cubicBezTo>
                  <a:cubicBezTo>
                    <a:pt x="93" y="30"/>
                    <a:pt x="78" y="37"/>
                    <a:pt x="68" y="51"/>
                  </a:cubicBezTo>
                  <a:cubicBezTo>
                    <a:pt x="59" y="65"/>
                    <a:pt x="52" y="85"/>
                    <a:pt x="48" y="113"/>
                  </a:cubicBezTo>
                  <a:cubicBezTo>
                    <a:pt x="4" y="134"/>
                    <a:pt x="4" y="134"/>
                    <a:pt x="4" y="134"/>
                  </a:cubicBezTo>
                  <a:cubicBezTo>
                    <a:pt x="1" y="136"/>
                    <a:pt x="0" y="138"/>
                    <a:pt x="0" y="142"/>
                  </a:cubicBezTo>
                  <a:cubicBezTo>
                    <a:pt x="0" y="145"/>
                    <a:pt x="2" y="148"/>
                    <a:pt x="5" y="149"/>
                  </a:cubicBezTo>
                  <a:cubicBezTo>
                    <a:pt x="88" y="185"/>
                    <a:pt x="88" y="185"/>
                    <a:pt x="88" y="185"/>
                  </a:cubicBezTo>
                  <a:cubicBezTo>
                    <a:pt x="88" y="261"/>
                    <a:pt x="88" y="261"/>
                    <a:pt x="88" y="261"/>
                  </a:cubicBezTo>
                  <a:cubicBezTo>
                    <a:pt x="88" y="270"/>
                    <a:pt x="94" y="278"/>
                    <a:pt x="101" y="286"/>
                  </a:cubicBezTo>
                  <a:cubicBezTo>
                    <a:pt x="123" y="309"/>
                    <a:pt x="173" y="336"/>
                    <a:pt x="234" y="336"/>
                  </a:cubicBezTo>
                  <a:cubicBezTo>
                    <a:pt x="275" y="336"/>
                    <a:pt x="310" y="323"/>
                    <a:pt x="334" y="307"/>
                  </a:cubicBezTo>
                  <a:cubicBezTo>
                    <a:pt x="346" y="299"/>
                    <a:pt x="356" y="291"/>
                    <a:pt x="363" y="282"/>
                  </a:cubicBezTo>
                  <a:cubicBezTo>
                    <a:pt x="369" y="274"/>
                    <a:pt x="374" y="265"/>
                    <a:pt x="374" y="257"/>
                  </a:cubicBezTo>
                  <a:cubicBezTo>
                    <a:pt x="374" y="239"/>
                    <a:pt x="374" y="198"/>
                    <a:pt x="374" y="184"/>
                  </a:cubicBezTo>
                  <a:cubicBezTo>
                    <a:pt x="455" y="149"/>
                    <a:pt x="455" y="149"/>
                    <a:pt x="455" y="149"/>
                  </a:cubicBezTo>
                  <a:cubicBezTo>
                    <a:pt x="458" y="148"/>
                    <a:pt x="460" y="145"/>
                    <a:pt x="460" y="141"/>
                  </a:cubicBezTo>
                  <a:cubicBezTo>
                    <a:pt x="460" y="138"/>
                    <a:pt x="458" y="135"/>
                    <a:pt x="456" y="134"/>
                  </a:cubicBezTo>
                  <a:moveTo>
                    <a:pt x="119" y="48"/>
                  </a:moveTo>
                  <a:cubicBezTo>
                    <a:pt x="123" y="49"/>
                    <a:pt x="128" y="51"/>
                    <a:pt x="132" y="53"/>
                  </a:cubicBezTo>
                  <a:cubicBezTo>
                    <a:pt x="131" y="60"/>
                    <a:pt x="130" y="67"/>
                    <a:pt x="129" y="75"/>
                  </a:cubicBezTo>
                  <a:cubicBezTo>
                    <a:pt x="110" y="84"/>
                    <a:pt x="110" y="84"/>
                    <a:pt x="110" y="84"/>
                  </a:cubicBezTo>
                  <a:cubicBezTo>
                    <a:pt x="112" y="68"/>
                    <a:pt x="116" y="56"/>
                    <a:pt x="119" y="48"/>
                  </a:cubicBezTo>
                  <a:moveTo>
                    <a:pt x="146" y="67"/>
                  </a:moveTo>
                  <a:cubicBezTo>
                    <a:pt x="146" y="65"/>
                    <a:pt x="147" y="64"/>
                    <a:pt x="147" y="62"/>
                  </a:cubicBezTo>
                  <a:cubicBezTo>
                    <a:pt x="148" y="63"/>
                    <a:pt x="149" y="64"/>
                    <a:pt x="151" y="65"/>
                  </a:cubicBezTo>
                  <a:lnTo>
                    <a:pt x="146" y="67"/>
                  </a:lnTo>
                  <a:close/>
                  <a:moveTo>
                    <a:pt x="163" y="45"/>
                  </a:moveTo>
                  <a:cubicBezTo>
                    <a:pt x="166" y="48"/>
                    <a:pt x="169" y="51"/>
                    <a:pt x="172" y="55"/>
                  </a:cubicBezTo>
                  <a:cubicBezTo>
                    <a:pt x="167" y="57"/>
                    <a:pt x="167" y="57"/>
                    <a:pt x="167" y="57"/>
                  </a:cubicBezTo>
                  <a:cubicBezTo>
                    <a:pt x="162" y="53"/>
                    <a:pt x="156" y="49"/>
                    <a:pt x="150" y="45"/>
                  </a:cubicBezTo>
                  <a:cubicBezTo>
                    <a:pt x="151" y="42"/>
                    <a:pt x="152" y="39"/>
                    <a:pt x="153" y="36"/>
                  </a:cubicBezTo>
                  <a:cubicBezTo>
                    <a:pt x="156" y="39"/>
                    <a:pt x="159" y="42"/>
                    <a:pt x="163" y="45"/>
                  </a:cubicBezTo>
                  <a:moveTo>
                    <a:pt x="162" y="17"/>
                  </a:moveTo>
                  <a:cubicBezTo>
                    <a:pt x="163" y="16"/>
                    <a:pt x="164" y="16"/>
                    <a:pt x="164" y="16"/>
                  </a:cubicBezTo>
                  <a:cubicBezTo>
                    <a:pt x="165" y="16"/>
                    <a:pt x="167" y="16"/>
                    <a:pt x="170" y="19"/>
                  </a:cubicBezTo>
                  <a:cubicBezTo>
                    <a:pt x="176" y="24"/>
                    <a:pt x="182" y="34"/>
                    <a:pt x="188" y="47"/>
                  </a:cubicBezTo>
                  <a:cubicBezTo>
                    <a:pt x="186" y="48"/>
                    <a:pt x="186" y="48"/>
                    <a:pt x="186" y="48"/>
                  </a:cubicBezTo>
                  <a:cubicBezTo>
                    <a:pt x="182" y="43"/>
                    <a:pt x="178" y="38"/>
                    <a:pt x="174" y="34"/>
                  </a:cubicBezTo>
                  <a:cubicBezTo>
                    <a:pt x="169" y="29"/>
                    <a:pt x="164" y="25"/>
                    <a:pt x="159" y="21"/>
                  </a:cubicBezTo>
                  <a:cubicBezTo>
                    <a:pt x="160" y="19"/>
                    <a:pt x="161" y="18"/>
                    <a:pt x="162" y="17"/>
                  </a:cubicBezTo>
                  <a:moveTo>
                    <a:pt x="137" y="30"/>
                  </a:moveTo>
                  <a:cubicBezTo>
                    <a:pt x="137" y="30"/>
                    <a:pt x="138" y="30"/>
                    <a:pt x="138" y="30"/>
                  </a:cubicBezTo>
                  <a:cubicBezTo>
                    <a:pt x="137" y="32"/>
                    <a:pt x="137" y="34"/>
                    <a:pt x="136" y="37"/>
                  </a:cubicBezTo>
                  <a:cubicBezTo>
                    <a:pt x="133" y="36"/>
                    <a:pt x="131" y="35"/>
                    <a:pt x="128" y="34"/>
                  </a:cubicBezTo>
                  <a:cubicBezTo>
                    <a:pt x="131" y="31"/>
                    <a:pt x="134" y="30"/>
                    <a:pt x="137" y="30"/>
                  </a:cubicBezTo>
                  <a:moveTo>
                    <a:pt x="82" y="60"/>
                  </a:moveTo>
                  <a:cubicBezTo>
                    <a:pt x="88" y="51"/>
                    <a:pt x="95" y="47"/>
                    <a:pt x="103" y="46"/>
                  </a:cubicBezTo>
                  <a:cubicBezTo>
                    <a:pt x="98" y="58"/>
                    <a:pt x="95" y="73"/>
                    <a:pt x="92" y="93"/>
                  </a:cubicBezTo>
                  <a:cubicBezTo>
                    <a:pt x="66" y="105"/>
                    <a:pt x="66" y="105"/>
                    <a:pt x="66" y="105"/>
                  </a:cubicBezTo>
                  <a:cubicBezTo>
                    <a:pt x="69" y="84"/>
                    <a:pt x="75" y="69"/>
                    <a:pt x="82" y="60"/>
                  </a:cubicBezTo>
                  <a:moveTo>
                    <a:pt x="358" y="209"/>
                  </a:moveTo>
                  <a:cubicBezTo>
                    <a:pt x="358" y="257"/>
                    <a:pt x="358" y="257"/>
                    <a:pt x="358" y="257"/>
                  </a:cubicBezTo>
                  <a:cubicBezTo>
                    <a:pt x="358" y="259"/>
                    <a:pt x="356" y="265"/>
                    <a:pt x="350" y="272"/>
                  </a:cubicBezTo>
                  <a:cubicBezTo>
                    <a:pt x="333" y="293"/>
                    <a:pt x="291" y="320"/>
                    <a:pt x="234" y="320"/>
                  </a:cubicBezTo>
                  <a:cubicBezTo>
                    <a:pt x="197" y="320"/>
                    <a:pt x="163" y="309"/>
                    <a:pt x="140" y="295"/>
                  </a:cubicBezTo>
                  <a:cubicBezTo>
                    <a:pt x="128" y="289"/>
                    <a:pt x="119" y="281"/>
                    <a:pt x="113" y="275"/>
                  </a:cubicBezTo>
                  <a:cubicBezTo>
                    <a:pt x="106" y="269"/>
                    <a:pt x="104" y="263"/>
                    <a:pt x="104" y="261"/>
                  </a:cubicBezTo>
                  <a:cubicBezTo>
                    <a:pt x="104" y="192"/>
                    <a:pt x="104" y="192"/>
                    <a:pt x="104" y="192"/>
                  </a:cubicBezTo>
                  <a:cubicBezTo>
                    <a:pt x="227" y="244"/>
                    <a:pt x="227" y="244"/>
                    <a:pt x="227" y="244"/>
                  </a:cubicBezTo>
                  <a:cubicBezTo>
                    <a:pt x="228" y="245"/>
                    <a:pt x="229" y="245"/>
                    <a:pt x="230" y="245"/>
                  </a:cubicBezTo>
                  <a:cubicBezTo>
                    <a:pt x="231" y="245"/>
                    <a:pt x="232" y="245"/>
                    <a:pt x="233" y="244"/>
                  </a:cubicBezTo>
                  <a:cubicBezTo>
                    <a:pt x="358" y="191"/>
                    <a:pt x="358" y="191"/>
                    <a:pt x="358" y="191"/>
                  </a:cubicBezTo>
                  <a:lnTo>
                    <a:pt x="358" y="20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Calibri" panose="020F0502020204030204"/>
                <a:ea typeface="MS PGothic" pitchFamily="34" charset="-128"/>
                <a:cs typeface="+mn-cs"/>
              </a:endParaRPr>
            </a:p>
          </p:txBody>
        </p:sp>
      </p:grpSp>
      <p:sp>
        <p:nvSpPr>
          <p:cNvPr id="213" name="Rectangle: Rounded Corners 212">
            <a:extLst>
              <a:ext uri="{FF2B5EF4-FFF2-40B4-BE49-F238E27FC236}">
                <a16:creationId xmlns="" xmlns:a16="http://schemas.microsoft.com/office/drawing/2014/main" id="{16724043-2DF2-4D3A-ABD6-D384C2369454}"/>
              </a:ext>
            </a:extLst>
          </p:cNvPr>
          <p:cNvSpPr/>
          <p:nvPr/>
        </p:nvSpPr>
        <p:spPr bwMode="auto">
          <a:xfrm>
            <a:off x="5852989" y="4818024"/>
            <a:ext cx="2913647" cy="1035219"/>
          </a:xfrm>
          <a:prstGeom prst="roundRect">
            <a:avLst/>
          </a:prstGeom>
          <a:solidFill>
            <a:srgbClr val="F08A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iziative 5G per avvicinar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 Ricerca alle esigenz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 Industrie e Società </a:t>
            </a:r>
          </a:p>
        </p:txBody>
      </p:sp>
      <p:sp>
        <p:nvSpPr>
          <p:cNvPr id="214" name="Rectangle: Rounded Corners 213">
            <a:extLst>
              <a:ext uri="{FF2B5EF4-FFF2-40B4-BE49-F238E27FC236}">
                <a16:creationId xmlns="" xmlns:a16="http://schemas.microsoft.com/office/drawing/2014/main" id="{C680DACB-897B-425B-BB2D-206F6201C75A}"/>
              </a:ext>
            </a:extLst>
          </p:cNvPr>
          <p:cNvSpPr/>
          <p:nvPr/>
        </p:nvSpPr>
        <p:spPr bwMode="auto">
          <a:xfrm>
            <a:off x="2763625" y="4818024"/>
            <a:ext cx="2913647" cy="103521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attaforme di tria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 prototipi di rete per </a:t>
            </a:r>
            <a:b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splorare benefici del 5G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="" xmlns:a16="http://schemas.microsoft.com/office/drawing/2014/main" id="{55F677CF-1E47-4222-93D6-F13A0DB27AB0}"/>
              </a:ext>
            </a:extLst>
          </p:cNvPr>
          <p:cNvSpPr/>
          <p:nvPr/>
        </p:nvSpPr>
        <p:spPr bwMode="auto">
          <a:xfrm>
            <a:off x="8942353" y="4818024"/>
            <a:ext cx="2913647" cy="1035219"/>
          </a:xfrm>
          <a:prstGeom prst="roundRect">
            <a:avLst/>
          </a:prstGeom>
          <a:solidFill>
            <a:srgbClr val="00A9D4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285750" marR="0" lvl="0" indent="-285750" algn="l" defTabSz="914400" rtl="0" eaLnBrk="1" fontAlgn="auto" latinLnBrk="0" hangingPunct="1">
              <a:lnSpc>
                <a:spcPts val="17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 Centri di R&amp;D in Italia</a:t>
            </a:r>
          </a:p>
          <a:p>
            <a:pPr marL="285750" marR="0" lvl="0" indent="-285750" algn="l" defTabSz="914400" rtl="0" eaLnBrk="1" fontAlgn="auto" latinLnBrk="0" hangingPunct="1">
              <a:lnSpc>
                <a:spcPts val="17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mpio e consolidato </a:t>
            </a:r>
            <a:b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cosistema Accademico</a:t>
            </a:r>
          </a:p>
        </p:txBody>
      </p:sp>
      <p:pic>
        <p:nvPicPr>
          <p:cNvPr id="34" name="Econ2011">
            <a:extLst>
              <a:ext uri="{FF2B5EF4-FFF2-40B4-BE49-F238E27FC236}">
                <a16:creationId xmlns="" xmlns:a16="http://schemas.microsoft.com/office/drawing/2014/main" id="{A9B7A212-5510-41DD-B19F-7ECD044175D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09564" y="360000"/>
            <a:ext cx="444500" cy="587195"/>
          </a:xfrm>
          <a:prstGeom prst="rect">
            <a:avLst/>
          </a:prstGeom>
        </p:spPr>
      </p:pic>
      <p:sp>
        <p:nvSpPr>
          <p:cNvPr id="38" name="Freeform 6">
            <a:extLst>
              <a:ext uri="{FF2B5EF4-FFF2-40B4-BE49-F238E27FC236}">
                <a16:creationId xmlns="" xmlns:a16="http://schemas.microsoft.com/office/drawing/2014/main" id="{9EDA1CDF-BE7C-DA46-9AEE-5FC334C97F13}"/>
              </a:ext>
            </a:extLst>
          </p:cNvPr>
          <p:cNvSpPr>
            <a:spLocks noChangeAspect="1"/>
          </p:cNvSpPr>
          <p:nvPr/>
        </p:nvSpPr>
        <p:spPr bwMode="auto">
          <a:xfrm rot="10800000" flipH="1">
            <a:off x="-92392" y="1567422"/>
            <a:ext cx="2657981" cy="1545021"/>
          </a:xfrm>
          <a:custGeom>
            <a:avLst/>
            <a:gdLst>
              <a:gd name="T0" fmla="*/ 2147483647 w 1098"/>
              <a:gd name="T1" fmla="*/ 2147483647 h 211"/>
              <a:gd name="T2" fmla="*/ 2147483647 w 1098"/>
              <a:gd name="T3" fmla="*/ 2147483647 h 211"/>
              <a:gd name="T4" fmla="*/ 2147483647 w 1098"/>
              <a:gd name="T5" fmla="*/ 2147483647 h 211"/>
              <a:gd name="T6" fmla="*/ 2147483647 w 1098"/>
              <a:gd name="T7" fmla="*/ 2147483647 h 211"/>
              <a:gd name="T8" fmla="*/ 2147483647 w 1098"/>
              <a:gd name="T9" fmla="*/ 2147483647 h 211"/>
              <a:gd name="T10" fmla="*/ 2147483647 w 1098"/>
              <a:gd name="T11" fmla="*/ 2147483647 h 211"/>
              <a:gd name="T12" fmla="*/ 0 w 1098"/>
              <a:gd name="T13" fmla="*/ 2147483647 h 211"/>
              <a:gd name="T14" fmla="*/ 0 w 1098"/>
              <a:gd name="T15" fmla="*/ 2147483647 h 211"/>
              <a:gd name="T16" fmla="*/ 2147483647 w 1098"/>
              <a:gd name="T17" fmla="*/ 0 h 211"/>
              <a:gd name="T18" fmla="*/ 2147483647 w 1098"/>
              <a:gd name="T19" fmla="*/ 0 h 211"/>
              <a:gd name="T20" fmla="*/ 2147483647 w 1098"/>
              <a:gd name="T21" fmla="*/ 2147483647 h 21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098"/>
              <a:gd name="T34" fmla="*/ 0 h 211"/>
              <a:gd name="T35" fmla="*/ 1098 w 1098"/>
              <a:gd name="T36" fmla="*/ 211 h 21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098" h="211">
                <a:moveTo>
                  <a:pt x="1002" y="10"/>
                </a:moveTo>
                <a:cubicBezTo>
                  <a:pt x="1087" y="95"/>
                  <a:pt x="1087" y="95"/>
                  <a:pt x="1087" y="95"/>
                </a:cubicBezTo>
                <a:cubicBezTo>
                  <a:pt x="1087" y="95"/>
                  <a:pt x="1098" y="105"/>
                  <a:pt x="1087" y="116"/>
                </a:cubicBezTo>
                <a:cubicBezTo>
                  <a:pt x="1075" y="128"/>
                  <a:pt x="1002" y="201"/>
                  <a:pt x="1002" y="201"/>
                </a:cubicBezTo>
                <a:cubicBezTo>
                  <a:pt x="1002" y="201"/>
                  <a:pt x="991" y="211"/>
                  <a:pt x="976" y="211"/>
                </a:cubicBezTo>
                <a:cubicBezTo>
                  <a:pt x="969" y="211"/>
                  <a:pt x="21" y="211"/>
                  <a:pt x="21" y="211"/>
                </a:cubicBezTo>
                <a:cubicBezTo>
                  <a:pt x="9" y="211"/>
                  <a:pt x="0" y="202"/>
                  <a:pt x="0" y="190"/>
                </a:cubicBezTo>
                <a:cubicBezTo>
                  <a:pt x="0" y="21"/>
                  <a:pt x="0" y="21"/>
                  <a:pt x="0" y="21"/>
                </a:cubicBezTo>
                <a:cubicBezTo>
                  <a:pt x="0" y="9"/>
                  <a:pt x="9" y="0"/>
                  <a:pt x="21" y="0"/>
                </a:cubicBezTo>
                <a:cubicBezTo>
                  <a:pt x="21" y="0"/>
                  <a:pt x="969" y="0"/>
                  <a:pt x="976" y="0"/>
                </a:cubicBezTo>
                <a:cubicBezTo>
                  <a:pt x="992" y="0"/>
                  <a:pt x="1002" y="10"/>
                  <a:pt x="1002" y="10"/>
                </a:cubicBezTo>
                <a:close/>
              </a:path>
            </a:pathLst>
          </a:custGeom>
          <a:solidFill>
            <a:srgbClr val="00B0F0"/>
          </a:solidFill>
          <a:ln>
            <a:noFill/>
          </a:ln>
        </p:spPr>
        <p:txBody>
          <a:bodyPr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sv-SE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S PGothic" charset="-128"/>
              <a:cs typeface="Arial" charset="0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="" xmlns:a16="http://schemas.microsoft.com/office/drawing/2014/main" id="{644ED75B-1546-174B-BF6D-D7DDC4D7A2A9}"/>
              </a:ext>
            </a:extLst>
          </p:cNvPr>
          <p:cNvGrpSpPr/>
          <p:nvPr/>
        </p:nvGrpSpPr>
        <p:grpSpPr>
          <a:xfrm>
            <a:off x="-163929" y="1612813"/>
            <a:ext cx="2657981" cy="1440002"/>
            <a:chOff x="-161982" y="1195608"/>
            <a:chExt cx="2657981" cy="1440002"/>
          </a:xfrm>
        </p:grpSpPr>
        <p:sp>
          <p:nvSpPr>
            <p:cNvPr id="40" name="Freeform 6">
              <a:extLst>
                <a:ext uri="{FF2B5EF4-FFF2-40B4-BE49-F238E27FC236}">
                  <a16:creationId xmlns="" xmlns:a16="http://schemas.microsoft.com/office/drawing/2014/main" id="{ECB9DC92-00FA-E64C-BBFD-0A193A8A17EF}"/>
                </a:ext>
              </a:extLst>
            </p:cNvPr>
            <p:cNvSpPr>
              <a:spLocks noChangeAspect="1"/>
            </p:cNvSpPr>
            <p:nvPr/>
          </p:nvSpPr>
          <p:spPr bwMode="auto">
            <a:xfrm rot="10800000" flipH="1">
              <a:off x="-161982" y="1195608"/>
              <a:ext cx="2657981" cy="1440002"/>
            </a:xfrm>
            <a:custGeom>
              <a:avLst/>
              <a:gdLst>
                <a:gd name="T0" fmla="*/ 2147483647 w 1098"/>
                <a:gd name="T1" fmla="*/ 2147483647 h 211"/>
                <a:gd name="T2" fmla="*/ 2147483647 w 1098"/>
                <a:gd name="T3" fmla="*/ 2147483647 h 211"/>
                <a:gd name="T4" fmla="*/ 2147483647 w 1098"/>
                <a:gd name="T5" fmla="*/ 2147483647 h 211"/>
                <a:gd name="T6" fmla="*/ 2147483647 w 1098"/>
                <a:gd name="T7" fmla="*/ 2147483647 h 211"/>
                <a:gd name="T8" fmla="*/ 2147483647 w 1098"/>
                <a:gd name="T9" fmla="*/ 2147483647 h 211"/>
                <a:gd name="T10" fmla="*/ 2147483647 w 1098"/>
                <a:gd name="T11" fmla="*/ 2147483647 h 211"/>
                <a:gd name="T12" fmla="*/ 0 w 1098"/>
                <a:gd name="T13" fmla="*/ 2147483647 h 211"/>
                <a:gd name="T14" fmla="*/ 0 w 1098"/>
                <a:gd name="T15" fmla="*/ 2147483647 h 211"/>
                <a:gd name="T16" fmla="*/ 2147483647 w 1098"/>
                <a:gd name="T17" fmla="*/ 0 h 211"/>
                <a:gd name="T18" fmla="*/ 2147483647 w 1098"/>
                <a:gd name="T19" fmla="*/ 0 h 211"/>
                <a:gd name="T20" fmla="*/ 2147483647 w 1098"/>
                <a:gd name="T21" fmla="*/ 2147483647 h 2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98"/>
                <a:gd name="T34" fmla="*/ 0 h 211"/>
                <a:gd name="T35" fmla="*/ 1098 w 1098"/>
                <a:gd name="T36" fmla="*/ 211 h 21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98" h="211">
                  <a:moveTo>
                    <a:pt x="1002" y="10"/>
                  </a:moveTo>
                  <a:cubicBezTo>
                    <a:pt x="1087" y="95"/>
                    <a:pt x="1087" y="95"/>
                    <a:pt x="1087" y="95"/>
                  </a:cubicBezTo>
                  <a:cubicBezTo>
                    <a:pt x="1087" y="95"/>
                    <a:pt x="1098" y="105"/>
                    <a:pt x="1087" y="116"/>
                  </a:cubicBezTo>
                  <a:cubicBezTo>
                    <a:pt x="1075" y="128"/>
                    <a:pt x="1002" y="201"/>
                    <a:pt x="1002" y="201"/>
                  </a:cubicBezTo>
                  <a:cubicBezTo>
                    <a:pt x="1002" y="201"/>
                    <a:pt x="991" y="211"/>
                    <a:pt x="976" y="211"/>
                  </a:cubicBezTo>
                  <a:cubicBezTo>
                    <a:pt x="969" y="211"/>
                    <a:pt x="21" y="211"/>
                    <a:pt x="21" y="211"/>
                  </a:cubicBezTo>
                  <a:cubicBezTo>
                    <a:pt x="9" y="211"/>
                    <a:pt x="0" y="202"/>
                    <a:pt x="0" y="19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9"/>
                    <a:pt x="9" y="0"/>
                    <a:pt x="21" y="0"/>
                  </a:cubicBezTo>
                  <a:cubicBezTo>
                    <a:pt x="21" y="0"/>
                    <a:pt x="969" y="0"/>
                    <a:pt x="976" y="0"/>
                  </a:cubicBezTo>
                  <a:cubicBezTo>
                    <a:pt x="992" y="0"/>
                    <a:pt x="1002" y="10"/>
                    <a:pt x="1002" y="1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83000">
                  <a:schemeClr val="bg1">
                    <a:alpha val="36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sv-S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="" xmlns:a16="http://schemas.microsoft.com/office/drawing/2014/main" id="{67D1EF09-774B-6F40-97B7-95323E3D7867}"/>
                </a:ext>
              </a:extLst>
            </p:cNvPr>
            <p:cNvSpPr txBox="1"/>
            <p:nvPr/>
          </p:nvSpPr>
          <p:spPr>
            <a:xfrm>
              <a:off x="318057" y="1624155"/>
              <a:ext cx="169790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ECNOLOGIA</a:t>
              </a:r>
              <a:b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5G</a:t>
              </a:r>
            </a:p>
          </p:txBody>
        </p:sp>
      </p:grpSp>
      <p:sp>
        <p:nvSpPr>
          <p:cNvPr id="42" name="Freeform 6">
            <a:extLst>
              <a:ext uri="{FF2B5EF4-FFF2-40B4-BE49-F238E27FC236}">
                <a16:creationId xmlns="" xmlns:a16="http://schemas.microsoft.com/office/drawing/2014/main" id="{0BB8EC18-E130-9842-AE3D-FE710278FCEF}"/>
              </a:ext>
            </a:extLst>
          </p:cNvPr>
          <p:cNvSpPr>
            <a:spLocks noChangeAspect="1"/>
          </p:cNvSpPr>
          <p:nvPr/>
        </p:nvSpPr>
        <p:spPr bwMode="auto">
          <a:xfrm rot="10800000" flipH="1">
            <a:off x="-96941" y="3269756"/>
            <a:ext cx="2657981" cy="1545021"/>
          </a:xfrm>
          <a:custGeom>
            <a:avLst/>
            <a:gdLst>
              <a:gd name="T0" fmla="*/ 2147483647 w 1098"/>
              <a:gd name="T1" fmla="*/ 2147483647 h 211"/>
              <a:gd name="T2" fmla="*/ 2147483647 w 1098"/>
              <a:gd name="T3" fmla="*/ 2147483647 h 211"/>
              <a:gd name="T4" fmla="*/ 2147483647 w 1098"/>
              <a:gd name="T5" fmla="*/ 2147483647 h 211"/>
              <a:gd name="T6" fmla="*/ 2147483647 w 1098"/>
              <a:gd name="T7" fmla="*/ 2147483647 h 211"/>
              <a:gd name="T8" fmla="*/ 2147483647 w 1098"/>
              <a:gd name="T9" fmla="*/ 2147483647 h 211"/>
              <a:gd name="T10" fmla="*/ 2147483647 w 1098"/>
              <a:gd name="T11" fmla="*/ 2147483647 h 211"/>
              <a:gd name="T12" fmla="*/ 0 w 1098"/>
              <a:gd name="T13" fmla="*/ 2147483647 h 211"/>
              <a:gd name="T14" fmla="*/ 0 w 1098"/>
              <a:gd name="T15" fmla="*/ 2147483647 h 211"/>
              <a:gd name="T16" fmla="*/ 2147483647 w 1098"/>
              <a:gd name="T17" fmla="*/ 0 h 211"/>
              <a:gd name="T18" fmla="*/ 2147483647 w 1098"/>
              <a:gd name="T19" fmla="*/ 0 h 211"/>
              <a:gd name="T20" fmla="*/ 2147483647 w 1098"/>
              <a:gd name="T21" fmla="*/ 2147483647 h 21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098"/>
              <a:gd name="T34" fmla="*/ 0 h 211"/>
              <a:gd name="T35" fmla="*/ 1098 w 1098"/>
              <a:gd name="T36" fmla="*/ 211 h 21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098" h="211">
                <a:moveTo>
                  <a:pt x="1002" y="10"/>
                </a:moveTo>
                <a:cubicBezTo>
                  <a:pt x="1087" y="95"/>
                  <a:pt x="1087" y="95"/>
                  <a:pt x="1087" y="95"/>
                </a:cubicBezTo>
                <a:cubicBezTo>
                  <a:pt x="1087" y="95"/>
                  <a:pt x="1098" y="105"/>
                  <a:pt x="1087" y="116"/>
                </a:cubicBezTo>
                <a:cubicBezTo>
                  <a:pt x="1075" y="128"/>
                  <a:pt x="1002" y="201"/>
                  <a:pt x="1002" y="201"/>
                </a:cubicBezTo>
                <a:cubicBezTo>
                  <a:pt x="1002" y="201"/>
                  <a:pt x="991" y="211"/>
                  <a:pt x="976" y="211"/>
                </a:cubicBezTo>
                <a:cubicBezTo>
                  <a:pt x="969" y="211"/>
                  <a:pt x="21" y="211"/>
                  <a:pt x="21" y="211"/>
                </a:cubicBezTo>
                <a:cubicBezTo>
                  <a:pt x="9" y="211"/>
                  <a:pt x="0" y="202"/>
                  <a:pt x="0" y="190"/>
                </a:cubicBezTo>
                <a:cubicBezTo>
                  <a:pt x="0" y="21"/>
                  <a:pt x="0" y="21"/>
                  <a:pt x="0" y="21"/>
                </a:cubicBezTo>
                <a:cubicBezTo>
                  <a:pt x="0" y="9"/>
                  <a:pt x="9" y="0"/>
                  <a:pt x="21" y="0"/>
                </a:cubicBezTo>
                <a:cubicBezTo>
                  <a:pt x="21" y="0"/>
                  <a:pt x="969" y="0"/>
                  <a:pt x="976" y="0"/>
                </a:cubicBezTo>
                <a:cubicBezTo>
                  <a:pt x="992" y="0"/>
                  <a:pt x="1002" y="10"/>
                  <a:pt x="1002" y="1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alpha val="0"/>
                </a:schemeClr>
              </a:gs>
              <a:gs pos="83000">
                <a:schemeClr val="bg1">
                  <a:alpha val="36000"/>
                </a:schemeClr>
              </a:gs>
            </a:gsLst>
            <a:lin ang="0" scaled="1"/>
            <a:tileRect/>
          </a:gradFill>
          <a:ln>
            <a:noFill/>
          </a:ln>
        </p:spPr>
        <p:txBody>
          <a:bodyPr anchor="ctr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sv-SE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S PGothic" charset="-128"/>
              <a:cs typeface="Arial" charset="0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="" xmlns:a16="http://schemas.microsoft.com/office/drawing/2014/main" id="{348DA531-2A4F-A444-B38B-99381DDF2D8F}"/>
              </a:ext>
            </a:extLst>
          </p:cNvPr>
          <p:cNvGrpSpPr/>
          <p:nvPr/>
        </p:nvGrpSpPr>
        <p:grpSpPr>
          <a:xfrm>
            <a:off x="-168478" y="3335316"/>
            <a:ext cx="2657981" cy="1440002"/>
            <a:chOff x="-161982" y="1195608"/>
            <a:chExt cx="2657981" cy="1440002"/>
          </a:xfrm>
        </p:grpSpPr>
        <p:sp>
          <p:nvSpPr>
            <p:cNvPr id="44" name="Freeform 6">
              <a:extLst>
                <a:ext uri="{FF2B5EF4-FFF2-40B4-BE49-F238E27FC236}">
                  <a16:creationId xmlns="" xmlns:a16="http://schemas.microsoft.com/office/drawing/2014/main" id="{A32E3A26-BE34-C84C-84D3-42BF1147D2C6}"/>
                </a:ext>
              </a:extLst>
            </p:cNvPr>
            <p:cNvSpPr>
              <a:spLocks noChangeAspect="1"/>
            </p:cNvSpPr>
            <p:nvPr/>
          </p:nvSpPr>
          <p:spPr bwMode="auto">
            <a:xfrm rot="10800000" flipH="1">
              <a:off x="-161982" y="1195608"/>
              <a:ext cx="2657981" cy="1440002"/>
            </a:xfrm>
            <a:custGeom>
              <a:avLst/>
              <a:gdLst>
                <a:gd name="T0" fmla="*/ 2147483647 w 1098"/>
                <a:gd name="T1" fmla="*/ 2147483647 h 211"/>
                <a:gd name="T2" fmla="*/ 2147483647 w 1098"/>
                <a:gd name="T3" fmla="*/ 2147483647 h 211"/>
                <a:gd name="T4" fmla="*/ 2147483647 w 1098"/>
                <a:gd name="T5" fmla="*/ 2147483647 h 211"/>
                <a:gd name="T6" fmla="*/ 2147483647 w 1098"/>
                <a:gd name="T7" fmla="*/ 2147483647 h 211"/>
                <a:gd name="T8" fmla="*/ 2147483647 w 1098"/>
                <a:gd name="T9" fmla="*/ 2147483647 h 211"/>
                <a:gd name="T10" fmla="*/ 2147483647 w 1098"/>
                <a:gd name="T11" fmla="*/ 2147483647 h 211"/>
                <a:gd name="T12" fmla="*/ 0 w 1098"/>
                <a:gd name="T13" fmla="*/ 2147483647 h 211"/>
                <a:gd name="T14" fmla="*/ 0 w 1098"/>
                <a:gd name="T15" fmla="*/ 2147483647 h 211"/>
                <a:gd name="T16" fmla="*/ 2147483647 w 1098"/>
                <a:gd name="T17" fmla="*/ 0 h 211"/>
                <a:gd name="T18" fmla="*/ 2147483647 w 1098"/>
                <a:gd name="T19" fmla="*/ 0 h 211"/>
                <a:gd name="T20" fmla="*/ 2147483647 w 1098"/>
                <a:gd name="T21" fmla="*/ 2147483647 h 2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98"/>
                <a:gd name="T34" fmla="*/ 0 h 211"/>
                <a:gd name="T35" fmla="*/ 1098 w 1098"/>
                <a:gd name="T36" fmla="*/ 211 h 21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98" h="211">
                  <a:moveTo>
                    <a:pt x="1002" y="10"/>
                  </a:moveTo>
                  <a:cubicBezTo>
                    <a:pt x="1087" y="95"/>
                    <a:pt x="1087" y="95"/>
                    <a:pt x="1087" y="95"/>
                  </a:cubicBezTo>
                  <a:cubicBezTo>
                    <a:pt x="1087" y="95"/>
                    <a:pt x="1098" y="105"/>
                    <a:pt x="1087" y="116"/>
                  </a:cubicBezTo>
                  <a:cubicBezTo>
                    <a:pt x="1075" y="128"/>
                    <a:pt x="1002" y="201"/>
                    <a:pt x="1002" y="201"/>
                  </a:cubicBezTo>
                  <a:cubicBezTo>
                    <a:pt x="1002" y="201"/>
                    <a:pt x="991" y="211"/>
                    <a:pt x="976" y="211"/>
                  </a:cubicBezTo>
                  <a:cubicBezTo>
                    <a:pt x="969" y="211"/>
                    <a:pt x="21" y="211"/>
                    <a:pt x="21" y="211"/>
                  </a:cubicBezTo>
                  <a:cubicBezTo>
                    <a:pt x="9" y="211"/>
                    <a:pt x="0" y="202"/>
                    <a:pt x="0" y="19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9"/>
                    <a:pt x="9" y="0"/>
                    <a:pt x="21" y="0"/>
                  </a:cubicBezTo>
                  <a:cubicBezTo>
                    <a:pt x="21" y="0"/>
                    <a:pt x="969" y="0"/>
                    <a:pt x="976" y="0"/>
                  </a:cubicBezTo>
                  <a:cubicBezTo>
                    <a:pt x="992" y="0"/>
                    <a:pt x="1002" y="10"/>
                    <a:pt x="1002" y="1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83000">
                  <a:schemeClr val="bg1">
                    <a:alpha val="36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sv-S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charset="-128"/>
                <a:cs typeface="Arial" panose="020B0604020202020204" pitchFamily="34" charset="0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="" xmlns:a16="http://schemas.microsoft.com/office/drawing/2014/main" id="{4B3D9045-943A-F34D-A94C-4FCEAB4239A4}"/>
                </a:ext>
              </a:extLst>
            </p:cNvPr>
            <p:cNvSpPr txBox="1"/>
            <p:nvPr/>
          </p:nvSpPr>
          <p:spPr>
            <a:xfrm>
              <a:off x="320043" y="1276171"/>
              <a:ext cx="1787669" cy="12003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SPERIENZE</a:t>
              </a:r>
              <a:b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GLOBALI E</a:t>
              </a:r>
              <a:b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OMPETENZE</a:t>
              </a:r>
              <a:b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OCALI</a:t>
              </a:r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="" xmlns:a16="http://schemas.microsoft.com/office/drawing/2014/main" id="{058D24F0-F561-AE43-A9EF-4E545E83E58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7800" y="258195"/>
            <a:ext cx="11176000" cy="1181100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="" xmlns:a16="http://schemas.microsoft.com/office/drawing/2014/main" id="{96EB7C89-9FB3-614D-B74F-AAE7B333F611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66" y="6132078"/>
            <a:ext cx="12178468" cy="725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55222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92D050"/>
                                      </p:to>
                                    </p:animClr>
                                    <p:set>
                                      <p:cBhvr>
                                        <p:cTn id="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25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250"/>
                                        <p:tgtEl>
                                          <p:spTgt spid="2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3" grpId="0" animBg="1"/>
      <p:bldP spid="214" grpId="0" animBg="1"/>
      <p:bldP spid="33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magine 9" descr="img14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324600"/>
          </a:xfrm>
          <a:prstGeom prst="rect">
            <a:avLst/>
          </a:prstGeom>
        </p:spPr>
      </p:pic>
      <p:pic>
        <p:nvPicPr>
          <p:cNvPr id="16" name="Econ2011" descr="ECON_RGB">
            <a:extLst>
              <a:ext uri="{FF2B5EF4-FFF2-40B4-BE49-F238E27FC236}">
                <a16:creationId xmlns="" xmlns:a16="http://schemas.microsoft.com/office/drawing/2014/main" id="{2EC50C25-5E2F-6A49-80BA-BFAA1737EE99}"/>
              </a:ext>
            </a:extLst>
          </p:cNvPr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209564" y="360000"/>
            <a:ext cx="444500" cy="588962"/>
          </a:xfrm>
          <a:prstGeom prst="rect">
            <a:avLst/>
          </a:prstGeom>
          <a:noFill/>
        </p:spPr>
      </p:pic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ADC198E5-BA5B-2D43-B4B8-31A69E0BC7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0400" y="1295400"/>
            <a:ext cx="10922000" cy="13335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533ECB0E-B0CC-4C32-AA90-0B064289CF8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132078"/>
            <a:ext cx="12192000" cy="725921"/>
          </a:xfrm>
          <a:prstGeom prst="rect">
            <a:avLst/>
          </a:prstGeom>
        </p:spPr>
      </p:pic>
      <p:pic>
        <p:nvPicPr>
          <p:cNvPr id="11" name="Immagine 10" descr="ad_14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5400" y="228600"/>
            <a:ext cx="9918700" cy="1333500"/>
          </a:xfrm>
          <a:prstGeom prst="rect">
            <a:avLst/>
          </a:prstGeom>
          <a:effectLst>
            <a:outerShdw blurRad="165100" dir="2700000" algn="tl" rotWithShape="0">
              <a:schemeClr val="accent1">
                <a:lumMod val="75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56845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magine 17" descr="img15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324600"/>
          </a:xfrm>
          <a:prstGeom prst="rect">
            <a:avLst/>
          </a:prstGeom>
        </p:spPr>
      </p:pic>
      <p:sp>
        <p:nvSpPr>
          <p:cNvPr id="6" name="Rectangle: Rounded Corners 5">
            <a:extLst>
              <a:ext uri="{FF2B5EF4-FFF2-40B4-BE49-F238E27FC236}">
                <a16:creationId xmlns="" xmlns:a16="http://schemas.microsoft.com/office/drawing/2014/main" id="{DE24A80F-559C-4C11-B997-130BDD6B604B}"/>
              </a:ext>
            </a:extLst>
          </p:cNvPr>
          <p:cNvSpPr/>
          <p:nvPr/>
        </p:nvSpPr>
        <p:spPr>
          <a:xfrm>
            <a:off x="1443900" y="1823930"/>
            <a:ext cx="9720000" cy="1461676"/>
          </a:xfrm>
          <a:prstGeom prst="roundRect">
            <a:avLst/>
          </a:prstGeom>
          <a:blipFill dpi="0" rotWithShape="1">
            <a:blip r:embed="rId4">
              <a:alphaModFix amt="45000"/>
            </a:blip>
            <a:srcRect/>
            <a:stretch>
              <a:fillRect/>
            </a:stretch>
          </a:blipFill>
          <a:ln w="1270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it-IT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icostruzione dinamica della versione virtuale e 3D dei luoghi e degli ambienti visitati</a:t>
            </a:r>
          </a:p>
        </p:txBody>
      </p:sp>
      <p:sp>
        <p:nvSpPr>
          <p:cNvPr id="7" name="Hexagon 6">
            <a:extLst>
              <a:ext uri="{FF2B5EF4-FFF2-40B4-BE49-F238E27FC236}">
                <a16:creationId xmlns="" xmlns:a16="http://schemas.microsoft.com/office/drawing/2014/main" id="{72567AAA-5284-47DA-9071-14E7A6AEFDFA}"/>
              </a:ext>
            </a:extLst>
          </p:cNvPr>
          <p:cNvSpPr/>
          <p:nvPr/>
        </p:nvSpPr>
        <p:spPr>
          <a:xfrm>
            <a:off x="514800" y="2194768"/>
            <a:ext cx="720000" cy="720000"/>
          </a:xfrm>
          <a:prstGeom prst="hexagon">
            <a:avLst/>
          </a:prstGeom>
          <a:solidFill>
            <a:srgbClr val="89BA17"/>
          </a:solidFill>
          <a:ln w="1270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86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="" xmlns:a16="http://schemas.microsoft.com/office/drawing/2014/main" id="{758A3747-9699-456C-942D-8A056F245175}"/>
              </a:ext>
            </a:extLst>
          </p:cNvPr>
          <p:cNvSpPr/>
          <p:nvPr/>
        </p:nvSpPr>
        <p:spPr>
          <a:xfrm>
            <a:off x="1443899" y="1823931"/>
            <a:ext cx="8530979" cy="720000"/>
          </a:xfrm>
          <a:prstGeom prst="roundRect">
            <a:avLst/>
          </a:prstGeom>
          <a:solidFill>
            <a:srgbClr val="00A9D4"/>
          </a:solidFill>
          <a:ln w="1270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	</a:t>
            </a:r>
            <a:r>
              <a:rPr kumimoji="0" lang="it-IT" sz="2000" b="1" i="0" u="none" strike="noStrike" kern="1200" cap="none" spc="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	</a:t>
            </a:r>
            <a:r>
              <a:rPr kumimoji="0" lang="it-IT" sz="2000" b="1" i="0" u="none" strike="noStrike" kern="1200" cap="none" spc="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isite virtuali ed esperienze immersive in siti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   di </a:t>
            </a:r>
            <a:r>
              <a:rPr lang="it-IT" sz="2000" b="1" spc="5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esse </a:t>
            </a:r>
            <a:r>
              <a:rPr kumimoji="0" lang="it-IT" sz="2000" b="1" i="0" u="none" strike="noStrike" kern="1200" cap="none" spc="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rtistico culturale</a:t>
            </a:r>
            <a:endParaRPr kumimoji="0" lang="it-IT" sz="2000" b="1" i="0" u="none" strike="noStrike" kern="1200" cap="none" spc="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="" xmlns:a16="http://schemas.microsoft.com/office/drawing/2014/main" id="{25AA3B06-BA21-47BC-9284-BE3B0969AD8F}"/>
              </a:ext>
            </a:extLst>
          </p:cNvPr>
          <p:cNvSpPr/>
          <p:nvPr/>
        </p:nvSpPr>
        <p:spPr>
          <a:xfrm>
            <a:off x="1443900" y="1823931"/>
            <a:ext cx="1800000" cy="720000"/>
          </a:xfrm>
          <a:prstGeom prst="roundRect">
            <a:avLst/>
          </a:prstGeom>
          <a:solidFill>
            <a:srgbClr val="89BA17"/>
          </a:solidFill>
          <a:ln w="1270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="" xmlns:a16="http://schemas.microsoft.com/office/drawing/2014/main" id="{E452FCB6-47D3-4CCD-9A71-85B2980591CF}"/>
              </a:ext>
            </a:extLst>
          </p:cNvPr>
          <p:cNvSpPr/>
          <p:nvPr/>
        </p:nvSpPr>
        <p:spPr>
          <a:xfrm>
            <a:off x="1443900" y="4127324"/>
            <a:ext cx="9720000" cy="1461676"/>
          </a:xfrm>
          <a:prstGeom prst="roundRect">
            <a:avLst/>
          </a:prstGeom>
          <a:blipFill dpi="0" rotWithShape="1">
            <a:blip r:embed="rId4">
              <a:alphaModFix amt="45000"/>
            </a:blip>
            <a:srcRect/>
            <a:stretch>
              <a:fillRect/>
            </a:stretch>
          </a:blipFill>
          <a:ln w="1270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isualizzazione arricchita con informazioni e contenuti multimediali tramite osservazione dell’ambiente attraverso la videocamera del proprio dispositivo mobile</a:t>
            </a:r>
          </a:p>
        </p:txBody>
      </p:sp>
      <p:sp>
        <p:nvSpPr>
          <p:cNvPr id="14" name="Hexagon 13">
            <a:extLst>
              <a:ext uri="{FF2B5EF4-FFF2-40B4-BE49-F238E27FC236}">
                <a16:creationId xmlns="" xmlns:a16="http://schemas.microsoft.com/office/drawing/2014/main" id="{AC3C7778-3EBA-4CCC-A48F-89E0DE67C640}"/>
              </a:ext>
            </a:extLst>
          </p:cNvPr>
          <p:cNvSpPr/>
          <p:nvPr/>
        </p:nvSpPr>
        <p:spPr>
          <a:xfrm>
            <a:off x="514800" y="4498162"/>
            <a:ext cx="720000" cy="720000"/>
          </a:xfrm>
          <a:prstGeom prst="hexagon">
            <a:avLst/>
          </a:prstGeom>
          <a:solidFill>
            <a:srgbClr val="FABB00"/>
          </a:solidFill>
          <a:ln w="1270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8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="" xmlns:a16="http://schemas.microsoft.com/office/drawing/2014/main" id="{61AA5F97-7039-42D7-9AAB-F4417912F0F0}"/>
              </a:ext>
            </a:extLst>
          </p:cNvPr>
          <p:cNvSpPr/>
          <p:nvPr/>
        </p:nvSpPr>
        <p:spPr>
          <a:xfrm>
            <a:off x="1443900" y="4127325"/>
            <a:ext cx="8530978" cy="720000"/>
          </a:xfrm>
          <a:prstGeom prst="roundRect">
            <a:avLst/>
          </a:prstGeom>
          <a:solidFill>
            <a:srgbClr val="00A9D4"/>
          </a:solidFill>
          <a:ln w="1270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u="none" strike="noStrike" kern="1200" cap="none" spc="1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	</a:t>
            </a:r>
            <a:r>
              <a:rPr lang="it-IT" sz="2000" b="1" spc="5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  <a:r>
              <a:rPr kumimoji="0" lang="it-IT" sz="2000" b="1" u="none" strike="noStrike" kern="1200" cap="none" spc="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isualizzazione di contenuti Augmented Reality relativi</a:t>
            </a:r>
            <a:r>
              <a:rPr lang="it-IT" sz="2000" b="1" spc="5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</a:t>
            </a:r>
            <a:r>
              <a:rPr lang="it-IT" sz="2000" b="1" spc="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ativi </a:t>
            </a:r>
            <a:r>
              <a:rPr kumimoji="0" lang="it-IT" sz="2000" b="1" u="none" strike="noStrike" kern="1200" cap="none" spc="5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i </a:t>
            </a:r>
            <a:r>
              <a:rPr kumimoji="0" lang="it-IT" sz="2000" b="1" u="none" strike="noStrike" kern="1200" cap="none" spc="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uoghi visitati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="" xmlns:a16="http://schemas.microsoft.com/office/drawing/2014/main" id="{D91E2894-124A-4495-8013-32450375A951}"/>
              </a:ext>
            </a:extLst>
          </p:cNvPr>
          <p:cNvSpPr/>
          <p:nvPr/>
        </p:nvSpPr>
        <p:spPr>
          <a:xfrm>
            <a:off x="1443900" y="4127325"/>
            <a:ext cx="1800000" cy="720000"/>
          </a:xfrm>
          <a:prstGeom prst="roundRect">
            <a:avLst/>
          </a:prstGeom>
          <a:solidFill>
            <a:srgbClr val="FABB00"/>
          </a:solidFill>
          <a:ln w="1270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Freeform 3">
            <a:extLst>
              <a:ext uri="{FF2B5EF4-FFF2-40B4-BE49-F238E27FC236}">
                <a16:creationId xmlns="" xmlns:a16="http://schemas.microsoft.com/office/drawing/2014/main" id="{B153B5CC-DB2D-4243-97D1-83848D9E877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081364" y="1896115"/>
            <a:ext cx="542550" cy="575632"/>
          </a:xfrm>
          <a:custGeom>
            <a:avLst/>
            <a:gdLst>
              <a:gd name="T0" fmla="*/ 2147483647 w 382"/>
              <a:gd name="T1" fmla="*/ 2147483647 h 405"/>
              <a:gd name="T2" fmla="*/ 2147483647 w 382"/>
              <a:gd name="T3" fmla="*/ 2147483647 h 405"/>
              <a:gd name="T4" fmla="*/ 2147483647 w 382"/>
              <a:gd name="T5" fmla="*/ 2147483647 h 405"/>
              <a:gd name="T6" fmla="*/ 2147483647 w 382"/>
              <a:gd name="T7" fmla="*/ 2147483647 h 405"/>
              <a:gd name="T8" fmla="*/ 2147483647 w 382"/>
              <a:gd name="T9" fmla="*/ 2147483647 h 405"/>
              <a:gd name="T10" fmla="*/ 2147483647 w 382"/>
              <a:gd name="T11" fmla="*/ 2147483647 h 405"/>
              <a:gd name="T12" fmla="*/ 2147483647 w 382"/>
              <a:gd name="T13" fmla="*/ 2147483647 h 405"/>
              <a:gd name="T14" fmla="*/ 2147483647 w 382"/>
              <a:gd name="T15" fmla="*/ 2147483647 h 405"/>
              <a:gd name="T16" fmla="*/ 0 w 382"/>
              <a:gd name="T17" fmla="*/ 2147483647 h 405"/>
              <a:gd name="T18" fmla="*/ 2147483647 w 382"/>
              <a:gd name="T19" fmla="*/ 2147483647 h 405"/>
              <a:gd name="T20" fmla="*/ 2147483647 w 382"/>
              <a:gd name="T21" fmla="*/ 2147483647 h 405"/>
              <a:gd name="T22" fmla="*/ 2147483647 w 382"/>
              <a:gd name="T23" fmla="*/ 2147483647 h 405"/>
              <a:gd name="T24" fmla="*/ 2147483647 w 382"/>
              <a:gd name="T25" fmla="*/ 2147483647 h 405"/>
              <a:gd name="T26" fmla="*/ 2147483647 w 382"/>
              <a:gd name="T27" fmla="*/ 2147483647 h 405"/>
              <a:gd name="T28" fmla="*/ 2147483647 w 382"/>
              <a:gd name="T29" fmla="*/ 2147483647 h 405"/>
              <a:gd name="T30" fmla="*/ 2147483647 w 382"/>
              <a:gd name="T31" fmla="*/ 2147483647 h 405"/>
              <a:gd name="T32" fmla="*/ 2147483647 w 382"/>
              <a:gd name="T33" fmla="*/ 2147483647 h 405"/>
              <a:gd name="T34" fmla="*/ 2147483647 w 382"/>
              <a:gd name="T35" fmla="*/ 2147483647 h 405"/>
              <a:gd name="T36" fmla="*/ 2147483647 w 382"/>
              <a:gd name="T37" fmla="*/ 2147483647 h 405"/>
              <a:gd name="T38" fmla="*/ 2147483647 w 382"/>
              <a:gd name="T39" fmla="*/ 2147483647 h 405"/>
              <a:gd name="T40" fmla="*/ 2147483647 w 382"/>
              <a:gd name="T41" fmla="*/ 2147483647 h 405"/>
              <a:gd name="T42" fmla="*/ 2147483647 w 382"/>
              <a:gd name="T43" fmla="*/ 2147483647 h 405"/>
              <a:gd name="T44" fmla="*/ 2147483647 w 382"/>
              <a:gd name="T45" fmla="*/ 2147483647 h 405"/>
              <a:gd name="T46" fmla="*/ 2147483647 w 382"/>
              <a:gd name="T47" fmla="*/ 2147483647 h 405"/>
              <a:gd name="T48" fmla="*/ 2147483647 w 382"/>
              <a:gd name="T49" fmla="*/ 2147483647 h 405"/>
              <a:gd name="T50" fmla="*/ 2147483647 w 382"/>
              <a:gd name="T51" fmla="*/ 2147483647 h 405"/>
              <a:gd name="T52" fmla="*/ 2147483647 w 382"/>
              <a:gd name="T53" fmla="*/ 2147483647 h 405"/>
              <a:gd name="T54" fmla="*/ 2147483647 w 382"/>
              <a:gd name="T55" fmla="*/ 2147483647 h 405"/>
              <a:gd name="T56" fmla="*/ 2147483647 w 382"/>
              <a:gd name="T57" fmla="*/ 2147483647 h 405"/>
              <a:gd name="T58" fmla="*/ 2147483647 w 382"/>
              <a:gd name="T59" fmla="*/ 2147483647 h 405"/>
              <a:gd name="T60" fmla="*/ 2147483647 w 382"/>
              <a:gd name="T61" fmla="*/ 2147483647 h 405"/>
              <a:gd name="T62" fmla="*/ 2147483647 w 382"/>
              <a:gd name="T63" fmla="*/ 2147483647 h 405"/>
              <a:gd name="T64" fmla="*/ 2147483647 w 382"/>
              <a:gd name="T65" fmla="*/ 2147483647 h 405"/>
              <a:gd name="T66" fmla="*/ 2147483647 w 382"/>
              <a:gd name="T67" fmla="*/ 2147483647 h 405"/>
              <a:gd name="T68" fmla="*/ 2147483647 w 382"/>
              <a:gd name="T69" fmla="*/ 2147483647 h 405"/>
              <a:gd name="T70" fmla="*/ 2147483647 w 382"/>
              <a:gd name="T71" fmla="*/ 2147483647 h 405"/>
              <a:gd name="T72" fmla="*/ 2147483647 w 382"/>
              <a:gd name="T73" fmla="*/ 2147483647 h 405"/>
              <a:gd name="T74" fmla="*/ 2147483647 w 382"/>
              <a:gd name="T75" fmla="*/ 2147483647 h 405"/>
              <a:gd name="T76" fmla="*/ 2147483647 w 382"/>
              <a:gd name="T77" fmla="*/ 2147483647 h 405"/>
              <a:gd name="T78" fmla="*/ 2147483647 w 382"/>
              <a:gd name="T79" fmla="*/ 2147483647 h 405"/>
              <a:gd name="T80" fmla="*/ 2147483647 w 382"/>
              <a:gd name="T81" fmla="*/ 2147483647 h 405"/>
              <a:gd name="T82" fmla="*/ 2147483647 w 382"/>
              <a:gd name="T83" fmla="*/ 2147483647 h 405"/>
              <a:gd name="T84" fmla="*/ 2147483647 w 382"/>
              <a:gd name="T85" fmla="*/ 2147483647 h 405"/>
              <a:gd name="T86" fmla="*/ 2147483647 w 382"/>
              <a:gd name="T87" fmla="*/ 2147483647 h 405"/>
              <a:gd name="T88" fmla="*/ 2147483647 w 382"/>
              <a:gd name="T89" fmla="*/ 2147483647 h 405"/>
              <a:gd name="T90" fmla="*/ 2147483647 w 382"/>
              <a:gd name="T91" fmla="*/ 2147483647 h 405"/>
              <a:gd name="T92" fmla="*/ 2147483647 w 382"/>
              <a:gd name="T93" fmla="*/ 2147483647 h 405"/>
              <a:gd name="T94" fmla="*/ 2147483647 w 382"/>
              <a:gd name="T95" fmla="*/ 2147483647 h 405"/>
              <a:gd name="T96" fmla="*/ 2147483647 w 382"/>
              <a:gd name="T97" fmla="*/ 2147483647 h 405"/>
              <a:gd name="T98" fmla="*/ 2147483647 w 382"/>
              <a:gd name="T99" fmla="*/ 2147483647 h 405"/>
              <a:gd name="T100" fmla="*/ 2147483647 w 382"/>
              <a:gd name="T101" fmla="*/ 2147483647 h 405"/>
              <a:gd name="T102" fmla="*/ 2147483647 w 382"/>
              <a:gd name="T103" fmla="*/ 2147483647 h 405"/>
              <a:gd name="T104" fmla="*/ 2147483647 w 382"/>
              <a:gd name="T105" fmla="*/ 2147483647 h 405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382" h="405">
                <a:moveTo>
                  <a:pt x="347" y="257"/>
                </a:moveTo>
                <a:cubicBezTo>
                  <a:pt x="348" y="202"/>
                  <a:pt x="348" y="202"/>
                  <a:pt x="348" y="202"/>
                </a:cubicBezTo>
                <a:cubicBezTo>
                  <a:pt x="349" y="198"/>
                  <a:pt x="345" y="194"/>
                  <a:pt x="341" y="194"/>
                </a:cubicBezTo>
                <a:cubicBezTo>
                  <a:pt x="336" y="194"/>
                  <a:pt x="333" y="197"/>
                  <a:pt x="332" y="202"/>
                </a:cubicBezTo>
                <a:cubicBezTo>
                  <a:pt x="331" y="257"/>
                  <a:pt x="331" y="257"/>
                  <a:pt x="331" y="257"/>
                </a:cubicBezTo>
                <a:cubicBezTo>
                  <a:pt x="325" y="258"/>
                  <a:pt x="319" y="260"/>
                  <a:pt x="314" y="264"/>
                </a:cubicBezTo>
                <a:cubicBezTo>
                  <a:pt x="276" y="231"/>
                  <a:pt x="276" y="231"/>
                  <a:pt x="276" y="231"/>
                </a:cubicBezTo>
                <a:cubicBezTo>
                  <a:pt x="279" y="225"/>
                  <a:pt x="281" y="219"/>
                  <a:pt x="281" y="212"/>
                </a:cubicBezTo>
                <a:cubicBezTo>
                  <a:pt x="281" y="204"/>
                  <a:pt x="279" y="197"/>
                  <a:pt x="275" y="191"/>
                </a:cubicBezTo>
                <a:cubicBezTo>
                  <a:pt x="320" y="150"/>
                  <a:pt x="320" y="150"/>
                  <a:pt x="320" y="150"/>
                </a:cubicBezTo>
                <a:cubicBezTo>
                  <a:pt x="324" y="153"/>
                  <a:pt x="329" y="155"/>
                  <a:pt x="334" y="156"/>
                </a:cubicBezTo>
                <a:cubicBezTo>
                  <a:pt x="333" y="170"/>
                  <a:pt x="333" y="170"/>
                  <a:pt x="333" y="170"/>
                </a:cubicBezTo>
                <a:cubicBezTo>
                  <a:pt x="333" y="175"/>
                  <a:pt x="337" y="178"/>
                  <a:pt x="341" y="178"/>
                </a:cubicBezTo>
                <a:cubicBezTo>
                  <a:pt x="341" y="178"/>
                  <a:pt x="341" y="178"/>
                  <a:pt x="341" y="178"/>
                </a:cubicBezTo>
                <a:cubicBezTo>
                  <a:pt x="346" y="178"/>
                  <a:pt x="349" y="175"/>
                  <a:pt x="349" y="171"/>
                </a:cubicBezTo>
                <a:cubicBezTo>
                  <a:pt x="350" y="157"/>
                  <a:pt x="350" y="157"/>
                  <a:pt x="350" y="157"/>
                </a:cubicBezTo>
                <a:cubicBezTo>
                  <a:pt x="368" y="153"/>
                  <a:pt x="382" y="137"/>
                  <a:pt x="382" y="118"/>
                </a:cubicBezTo>
                <a:cubicBezTo>
                  <a:pt x="382" y="96"/>
                  <a:pt x="365" y="78"/>
                  <a:pt x="343" y="78"/>
                </a:cubicBezTo>
                <a:cubicBezTo>
                  <a:pt x="332" y="78"/>
                  <a:pt x="322" y="83"/>
                  <a:pt x="314" y="91"/>
                </a:cubicBezTo>
                <a:cubicBezTo>
                  <a:pt x="254" y="53"/>
                  <a:pt x="254" y="53"/>
                  <a:pt x="254" y="53"/>
                </a:cubicBezTo>
                <a:cubicBezTo>
                  <a:pt x="255" y="49"/>
                  <a:pt x="256" y="44"/>
                  <a:pt x="256" y="39"/>
                </a:cubicBezTo>
                <a:cubicBezTo>
                  <a:pt x="256" y="18"/>
                  <a:pt x="238" y="0"/>
                  <a:pt x="217" y="0"/>
                </a:cubicBezTo>
                <a:cubicBezTo>
                  <a:pt x="195" y="0"/>
                  <a:pt x="177" y="18"/>
                  <a:pt x="177" y="39"/>
                </a:cubicBezTo>
                <a:cubicBezTo>
                  <a:pt x="177" y="40"/>
                  <a:pt x="177" y="41"/>
                  <a:pt x="177" y="42"/>
                </a:cubicBezTo>
                <a:cubicBezTo>
                  <a:pt x="74" y="72"/>
                  <a:pt x="74" y="72"/>
                  <a:pt x="74" y="72"/>
                </a:cubicBezTo>
                <a:cubicBezTo>
                  <a:pt x="68" y="60"/>
                  <a:pt x="55" y="51"/>
                  <a:pt x="40" y="51"/>
                </a:cubicBezTo>
                <a:cubicBezTo>
                  <a:pt x="18" y="51"/>
                  <a:pt x="0" y="69"/>
                  <a:pt x="0" y="91"/>
                </a:cubicBezTo>
                <a:cubicBezTo>
                  <a:pt x="0" y="111"/>
                  <a:pt x="16" y="128"/>
                  <a:pt x="35" y="130"/>
                </a:cubicBezTo>
                <a:cubicBezTo>
                  <a:pt x="46" y="237"/>
                  <a:pt x="46" y="237"/>
                  <a:pt x="46" y="237"/>
                </a:cubicBezTo>
                <a:cubicBezTo>
                  <a:pt x="30" y="242"/>
                  <a:pt x="19" y="257"/>
                  <a:pt x="19" y="275"/>
                </a:cubicBezTo>
                <a:cubicBezTo>
                  <a:pt x="19" y="297"/>
                  <a:pt x="36" y="314"/>
                  <a:pt x="58" y="314"/>
                </a:cubicBezTo>
                <a:cubicBezTo>
                  <a:pt x="65" y="314"/>
                  <a:pt x="72" y="312"/>
                  <a:pt x="78" y="309"/>
                </a:cubicBezTo>
                <a:cubicBezTo>
                  <a:pt x="109" y="343"/>
                  <a:pt x="109" y="343"/>
                  <a:pt x="109" y="343"/>
                </a:cubicBezTo>
                <a:cubicBezTo>
                  <a:pt x="105" y="349"/>
                  <a:pt x="102" y="357"/>
                  <a:pt x="102" y="366"/>
                </a:cubicBezTo>
                <a:cubicBezTo>
                  <a:pt x="102" y="387"/>
                  <a:pt x="119" y="405"/>
                  <a:pt x="141" y="405"/>
                </a:cubicBezTo>
                <a:cubicBezTo>
                  <a:pt x="163" y="405"/>
                  <a:pt x="181" y="387"/>
                  <a:pt x="181" y="366"/>
                </a:cubicBezTo>
                <a:cubicBezTo>
                  <a:pt x="181" y="364"/>
                  <a:pt x="180" y="362"/>
                  <a:pt x="180" y="360"/>
                </a:cubicBezTo>
                <a:cubicBezTo>
                  <a:pt x="304" y="316"/>
                  <a:pt x="304" y="316"/>
                  <a:pt x="304" y="316"/>
                </a:cubicBezTo>
                <a:cubicBezTo>
                  <a:pt x="311" y="327"/>
                  <a:pt x="323" y="335"/>
                  <a:pt x="337" y="335"/>
                </a:cubicBezTo>
                <a:cubicBezTo>
                  <a:pt x="359" y="335"/>
                  <a:pt x="377" y="317"/>
                  <a:pt x="377" y="295"/>
                </a:cubicBezTo>
                <a:cubicBezTo>
                  <a:pt x="377" y="277"/>
                  <a:pt x="364" y="261"/>
                  <a:pt x="347" y="257"/>
                </a:cubicBezTo>
                <a:close/>
                <a:moveTo>
                  <a:pt x="343" y="94"/>
                </a:moveTo>
                <a:cubicBezTo>
                  <a:pt x="356" y="94"/>
                  <a:pt x="366" y="105"/>
                  <a:pt x="366" y="118"/>
                </a:cubicBezTo>
                <a:cubicBezTo>
                  <a:pt x="366" y="131"/>
                  <a:pt x="356" y="141"/>
                  <a:pt x="343" y="141"/>
                </a:cubicBezTo>
                <a:cubicBezTo>
                  <a:pt x="330" y="141"/>
                  <a:pt x="320" y="131"/>
                  <a:pt x="320" y="118"/>
                </a:cubicBezTo>
                <a:cubicBezTo>
                  <a:pt x="320" y="105"/>
                  <a:pt x="330" y="94"/>
                  <a:pt x="343" y="94"/>
                </a:cubicBezTo>
                <a:close/>
                <a:moveTo>
                  <a:pt x="309" y="138"/>
                </a:moveTo>
                <a:cubicBezTo>
                  <a:pt x="265" y="180"/>
                  <a:pt x="265" y="180"/>
                  <a:pt x="265" y="180"/>
                </a:cubicBezTo>
                <a:cubicBezTo>
                  <a:pt x="258" y="175"/>
                  <a:pt x="250" y="173"/>
                  <a:pt x="242" y="173"/>
                </a:cubicBezTo>
                <a:cubicBezTo>
                  <a:pt x="227" y="173"/>
                  <a:pt x="213" y="181"/>
                  <a:pt x="207" y="194"/>
                </a:cubicBezTo>
                <a:cubicBezTo>
                  <a:pt x="167" y="183"/>
                  <a:pt x="167" y="183"/>
                  <a:pt x="167" y="183"/>
                </a:cubicBezTo>
                <a:cubicBezTo>
                  <a:pt x="167" y="182"/>
                  <a:pt x="167" y="181"/>
                  <a:pt x="167" y="180"/>
                </a:cubicBezTo>
                <a:cubicBezTo>
                  <a:pt x="167" y="179"/>
                  <a:pt x="167" y="178"/>
                  <a:pt x="167" y="177"/>
                </a:cubicBezTo>
                <a:cubicBezTo>
                  <a:pt x="308" y="136"/>
                  <a:pt x="308" y="136"/>
                  <a:pt x="308" y="136"/>
                </a:cubicBezTo>
                <a:cubicBezTo>
                  <a:pt x="308" y="137"/>
                  <a:pt x="309" y="138"/>
                  <a:pt x="309" y="138"/>
                </a:cubicBezTo>
                <a:close/>
                <a:moveTo>
                  <a:pt x="265" y="212"/>
                </a:moveTo>
                <a:cubicBezTo>
                  <a:pt x="265" y="225"/>
                  <a:pt x="255" y="235"/>
                  <a:pt x="242" y="235"/>
                </a:cubicBezTo>
                <a:cubicBezTo>
                  <a:pt x="229" y="235"/>
                  <a:pt x="218" y="225"/>
                  <a:pt x="218" y="212"/>
                </a:cubicBezTo>
                <a:cubicBezTo>
                  <a:pt x="218" y="199"/>
                  <a:pt x="229" y="189"/>
                  <a:pt x="242" y="189"/>
                </a:cubicBezTo>
                <a:cubicBezTo>
                  <a:pt x="255" y="189"/>
                  <a:pt x="265" y="199"/>
                  <a:pt x="265" y="212"/>
                </a:cubicBezTo>
                <a:close/>
                <a:moveTo>
                  <a:pt x="143" y="273"/>
                </a:moveTo>
                <a:cubicBezTo>
                  <a:pt x="139" y="218"/>
                  <a:pt x="139" y="218"/>
                  <a:pt x="139" y="218"/>
                </a:cubicBezTo>
                <a:cubicBezTo>
                  <a:pt x="149" y="215"/>
                  <a:pt x="158" y="208"/>
                  <a:pt x="163" y="198"/>
                </a:cubicBezTo>
                <a:cubicBezTo>
                  <a:pt x="203" y="209"/>
                  <a:pt x="203" y="209"/>
                  <a:pt x="203" y="209"/>
                </a:cubicBezTo>
                <a:cubicBezTo>
                  <a:pt x="203" y="210"/>
                  <a:pt x="202" y="211"/>
                  <a:pt x="202" y="212"/>
                </a:cubicBezTo>
                <a:cubicBezTo>
                  <a:pt x="202" y="223"/>
                  <a:pt x="207" y="233"/>
                  <a:pt x="214" y="240"/>
                </a:cubicBezTo>
                <a:cubicBezTo>
                  <a:pt x="190" y="277"/>
                  <a:pt x="190" y="277"/>
                  <a:pt x="190" y="277"/>
                </a:cubicBezTo>
                <a:lnTo>
                  <a:pt x="143" y="273"/>
                </a:lnTo>
                <a:close/>
                <a:moveTo>
                  <a:pt x="180" y="292"/>
                </a:moveTo>
                <a:cubicBezTo>
                  <a:pt x="156" y="329"/>
                  <a:pt x="156" y="329"/>
                  <a:pt x="156" y="329"/>
                </a:cubicBezTo>
                <a:cubicBezTo>
                  <a:pt x="153" y="328"/>
                  <a:pt x="150" y="327"/>
                  <a:pt x="146" y="327"/>
                </a:cubicBezTo>
                <a:cubicBezTo>
                  <a:pt x="144" y="289"/>
                  <a:pt x="144" y="289"/>
                  <a:pt x="144" y="289"/>
                </a:cubicBezTo>
                <a:lnTo>
                  <a:pt x="180" y="292"/>
                </a:lnTo>
                <a:close/>
                <a:moveTo>
                  <a:pt x="128" y="204"/>
                </a:moveTo>
                <a:cubicBezTo>
                  <a:pt x="115" y="204"/>
                  <a:pt x="105" y="193"/>
                  <a:pt x="105" y="180"/>
                </a:cubicBezTo>
                <a:cubicBezTo>
                  <a:pt x="105" y="168"/>
                  <a:pt x="115" y="157"/>
                  <a:pt x="128" y="157"/>
                </a:cubicBezTo>
                <a:cubicBezTo>
                  <a:pt x="141" y="157"/>
                  <a:pt x="151" y="168"/>
                  <a:pt x="151" y="180"/>
                </a:cubicBezTo>
                <a:cubicBezTo>
                  <a:pt x="151" y="193"/>
                  <a:pt x="141" y="204"/>
                  <a:pt x="128" y="204"/>
                </a:cubicBezTo>
                <a:close/>
                <a:moveTo>
                  <a:pt x="217" y="16"/>
                </a:moveTo>
                <a:cubicBezTo>
                  <a:pt x="230" y="16"/>
                  <a:pt x="240" y="27"/>
                  <a:pt x="240" y="39"/>
                </a:cubicBezTo>
                <a:cubicBezTo>
                  <a:pt x="240" y="52"/>
                  <a:pt x="230" y="63"/>
                  <a:pt x="217" y="63"/>
                </a:cubicBezTo>
                <a:cubicBezTo>
                  <a:pt x="204" y="63"/>
                  <a:pt x="193" y="52"/>
                  <a:pt x="193" y="39"/>
                </a:cubicBezTo>
                <a:cubicBezTo>
                  <a:pt x="193" y="27"/>
                  <a:pt x="204" y="16"/>
                  <a:pt x="217" y="16"/>
                </a:cubicBezTo>
                <a:close/>
                <a:moveTo>
                  <a:pt x="202" y="76"/>
                </a:moveTo>
                <a:cubicBezTo>
                  <a:pt x="207" y="78"/>
                  <a:pt x="211" y="79"/>
                  <a:pt x="217" y="79"/>
                </a:cubicBezTo>
                <a:cubicBezTo>
                  <a:pt x="228" y="79"/>
                  <a:pt x="238" y="74"/>
                  <a:pt x="245" y="67"/>
                </a:cubicBezTo>
                <a:cubicBezTo>
                  <a:pt x="306" y="104"/>
                  <a:pt x="306" y="104"/>
                  <a:pt x="306" y="104"/>
                </a:cubicBezTo>
                <a:cubicBezTo>
                  <a:pt x="306" y="105"/>
                  <a:pt x="305" y="106"/>
                  <a:pt x="305" y="106"/>
                </a:cubicBezTo>
                <a:cubicBezTo>
                  <a:pt x="190" y="96"/>
                  <a:pt x="190" y="96"/>
                  <a:pt x="190" y="96"/>
                </a:cubicBezTo>
                <a:lnTo>
                  <a:pt x="202" y="76"/>
                </a:lnTo>
                <a:close/>
                <a:moveTo>
                  <a:pt x="300" y="122"/>
                </a:moveTo>
                <a:cubicBezTo>
                  <a:pt x="163" y="162"/>
                  <a:pt x="163" y="162"/>
                  <a:pt x="163" y="162"/>
                </a:cubicBezTo>
                <a:cubicBezTo>
                  <a:pt x="161" y="158"/>
                  <a:pt x="158" y="155"/>
                  <a:pt x="155" y="152"/>
                </a:cubicBezTo>
                <a:cubicBezTo>
                  <a:pt x="180" y="111"/>
                  <a:pt x="180" y="111"/>
                  <a:pt x="180" y="111"/>
                </a:cubicBezTo>
                <a:lnTo>
                  <a:pt x="300" y="122"/>
                </a:lnTo>
                <a:close/>
                <a:moveTo>
                  <a:pt x="182" y="58"/>
                </a:moveTo>
                <a:cubicBezTo>
                  <a:pt x="184" y="61"/>
                  <a:pt x="186" y="64"/>
                  <a:pt x="189" y="67"/>
                </a:cubicBezTo>
                <a:cubicBezTo>
                  <a:pt x="172" y="95"/>
                  <a:pt x="172" y="95"/>
                  <a:pt x="172" y="95"/>
                </a:cubicBezTo>
                <a:cubicBezTo>
                  <a:pt x="83" y="87"/>
                  <a:pt x="83" y="87"/>
                  <a:pt x="83" y="87"/>
                </a:cubicBezTo>
                <a:lnTo>
                  <a:pt x="182" y="58"/>
                </a:lnTo>
                <a:close/>
                <a:moveTo>
                  <a:pt x="77" y="102"/>
                </a:moveTo>
                <a:cubicBezTo>
                  <a:pt x="162" y="110"/>
                  <a:pt x="162" y="110"/>
                  <a:pt x="162" y="110"/>
                </a:cubicBezTo>
                <a:cubicBezTo>
                  <a:pt x="141" y="144"/>
                  <a:pt x="141" y="144"/>
                  <a:pt x="141" y="144"/>
                </a:cubicBezTo>
                <a:cubicBezTo>
                  <a:pt x="137" y="142"/>
                  <a:pt x="133" y="141"/>
                  <a:pt x="128" y="141"/>
                </a:cubicBezTo>
                <a:cubicBezTo>
                  <a:pt x="120" y="141"/>
                  <a:pt x="113" y="143"/>
                  <a:pt x="107" y="147"/>
                </a:cubicBezTo>
                <a:cubicBezTo>
                  <a:pt x="72" y="113"/>
                  <a:pt x="72" y="113"/>
                  <a:pt x="72" y="113"/>
                </a:cubicBezTo>
                <a:cubicBezTo>
                  <a:pt x="74" y="109"/>
                  <a:pt x="76" y="106"/>
                  <a:pt x="77" y="102"/>
                </a:cubicBezTo>
                <a:close/>
                <a:moveTo>
                  <a:pt x="95" y="159"/>
                </a:moveTo>
                <a:cubicBezTo>
                  <a:pt x="91" y="165"/>
                  <a:pt x="89" y="172"/>
                  <a:pt x="89" y="180"/>
                </a:cubicBezTo>
                <a:cubicBezTo>
                  <a:pt x="89" y="191"/>
                  <a:pt x="92" y="200"/>
                  <a:pt x="99" y="207"/>
                </a:cubicBezTo>
                <a:cubicBezTo>
                  <a:pt x="75" y="239"/>
                  <a:pt x="75" y="239"/>
                  <a:pt x="75" y="239"/>
                </a:cubicBezTo>
                <a:cubicBezTo>
                  <a:pt x="71" y="237"/>
                  <a:pt x="67" y="236"/>
                  <a:pt x="62" y="236"/>
                </a:cubicBezTo>
                <a:cubicBezTo>
                  <a:pt x="51" y="128"/>
                  <a:pt x="51" y="128"/>
                  <a:pt x="51" y="128"/>
                </a:cubicBezTo>
                <a:cubicBezTo>
                  <a:pt x="55" y="127"/>
                  <a:pt x="58" y="126"/>
                  <a:pt x="61" y="124"/>
                </a:cubicBezTo>
                <a:lnTo>
                  <a:pt x="95" y="159"/>
                </a:lnTo>
                <a:close/>
                <a:moveTo>
                  <a:pt x="40" y="114"/>
                </a:moveTo>
                <a:cubicBezTo>
                  <a:pt x="27" y="114"/>
                  <a:pt x="16" y="104"/>
                  <a:pt x="16" y="91"/>
                </a:cubicBezTo>
                <a:cubicBezTo>
                  <a:pt x="16" y="78"/>
                  <a:pt x="27" y="67"/>
                  <a:pt x="40" y="67"/>
                </a:cubicBezTo>
                <a:cubicBezTo>
                  <a:pt x="52" y="67"/>
                  <a:pt x="63" y="78"/>
                  <a:pt x="63" y="91"/>
                </a:cubicBezTo>
                <a:cubicBezTo>
                  <a:pt x="63" y="104"/>
                  <a:pt x="52" y="114"/>
                  <a:pt x="40" y="114"/>
                </a:cubicBezTo>
                <a:close/>
                <a:moveTo>
                  <a:pt x="58" y="298"/>
                </a:moveTo>
                <a:cubicBezTo>
                  <a:pt x="45" y="298"/>
                  <a:pt x="35" y="288"/>
                  <a:pt x="35" y="275"/>
                </a:cubicBezTo>
                <a:cubicBezTo>
                  <a:pt x="35" y="262"/>
                  <a:pt x="45" y="252"/>
                  <a:pt x="58" y="252"/>
                </a:cubicBezTo>
                <a:cubicBezTo>
                  <a:pt x="71" y="252"/>
                  <a:pt x="81" y="262"/>
                  <a:pt x="81" y="275"/>
                </a:cubicBezTo>
                <a:cubicBezTo>
                  <a:pt x="81" y="288"/>
                  <a:pt x="71" y="298"/>
                  <a:pt x="58" y="298"/>
                </a:cubicBezTo>
                <a:close/>
                <a:moveTo>
                  <a:pt x="112" y="216"/>
                </a:moveTo>
                <a:cubicBezTo>
                  <a:pt x="115" y="218"/>
                  <a:pt x="119" y="219"/>
                  <a:pt x="123" y="219"/>
                </a:cubicBezTo>
                <a:cubicBezTo>
                  <a:pt x="126" y="272"/>
                  <a:pt x="126" y="272"/>
                  <a:pt x="126" y="272"/>
                </a:cubicBezTo>
                <a:cubicBezTo>
                  <a:pt x="97" y="270"/>
                  <a:pt x="97" y="270"/>
                  <a:pt x="97" y="270"/>
                </a:cubicBezTo>
                <a:cubicBezTo>
                  <a:pt x="96" y="262"/>
                  <a:pt x="93" y="255"/>
                  <a:pt x="87" y="249"/>
                </a:cubicBezTo>
                <a:lnTo>
                  <a:pt x="112" y="216"/>
                </a:lnTo>
                <a:close/>
                <a:moveTo>
                  <a:pt x="90" y="298"/>
                </a:moveTo>
                <a:cubicBezTo>
                  <a:pt x="93" y="294"/>
                  <a:pt x="95" y="290"/>
                  <a:pt x="96" y="286"/>
                </a:cubicBezTo>
                <a:cubicBezTo>
                  <a:pt x="128" y="288"/>
                  <a:pt x="128" y="288"/>
                  <a:pt x="128" y="288"/>
                </a:cubicBezTo>
                <a:cubicBezTo>
                  <a:pt x="130" y="328"/>
                  <a:pt x="130" y="328"/>
                  <a:pt x="130" y="328"/>
                </a:cubicBezTo>
                <a:cubicBezTo>
                  <a:pt x="127" y="329"/>
                  <a:pt x="124" y="330"/>
                  <a:pt x="121" y="332"/>
                </a:cubicBezTo>
                <a:lnTo>
                  <a:pt x="90" y="298"/>
                </a:lnTo>
                <a:close/>
                <a:moveTo>
                  <a:pt x="141" y="389"/>
                </a:moveTo>
                <a:cubicBezTo>
                  <a:pt x="128" y="389"/>
                  <a:pt x="118" y="379"/>
                  <a:pt x="118" y="366"/>
                </a:cubicBezTo>
                <a:cubicBezTo>
                  <a:pt x="118" y="353"/>
                  <a:pt x="128" y="342"/>
                  <a:pt x="141" y="342"/>
                </a:cubicBezTo>
                <a:cubicBezTo>
                  <a:pt x="154" y="342"/>
                  <a:pt x="165" y="353"/>
                  <a:pt x="165" y="366"/>
                </a:cubicBezTo>
                <a:cubicBezTo>
                  <a:pt x="165" y="379"/>
                  <a:pt x="154" y="389"/>
                  <a:pt x="141" y="389"/>
                </a:cubicBezTo>
                <a:close/>
                <a:moveTo>
                  <a:pt x="175" y="345"/>
                </a:moveTo>
                <a:cubicBezTo>
                  <a:pt x="173" y="343"/>
                  <a:pt x="171" y="340"/>
                  <a:pt x="169" y="338"/>
                </a:cubicBezTo>
                <a:cubicBezTo>
                  <a:pt x="198" y="293"/>
                  <a:pt x="198" y="293"/>
                  <a:pt x="198" y="293"/>
                </a:cubicBezTo>
                <a:cubicBezTo>
                  <a:pt x="299" y="301"/>
                  <a:pt x="299" y="301"/>
                  <a:pt x="299" y="301"/>
                </a:cubicBezTo>
                <a:cubicBezTo>
                  <a:pt x="299" y="301"/>
                  <a:pt x="299" y="301"/>
                  <a:pt x="299" y="301"/>
                </a:cubicBezTo>
                <a:lnTo>
                  <a:pt x="175" y="345"/>
                </a:lnTo>
                <a:close/>
                <a:moveTo>
                  <a:pt x="300" y="285"/>
                </a:moveTo>
                <a:cubicBezTo>
                  <a:pt x="208" y="278"/>
                  <a:pt x="208" y="278"/>
                  <a:pt x="208" y="278"/>
                </a:cubicBezTo>
                <a:cubicBezTo>
                  <a:pt x="227" y="248"/>
                  <a:pt x="227" y="248"/>
                  <a:pt x="227" y="248"/>
                </a:cubicBezTo>
                <a:cubicBezTo>
                  <a:pt x="232" y="250"/>
                  <a:pt x="237" y="251"/>
                  <a:pt x="242" y="251"/>
                </a:cubicBezTo>
                <a:cubicBezTo>
                  <a:pt x="251" y="251"/>
                  <a:pt x="259" y="248"/>
                  <a:pt x="266" y="243"/>
                </a:cubicBezTo>
                <a:cubicBezTo>
                  <a:pt x="303" y="276"/>
                  <a:pt x="303" y="276"/>
                  <a:pt x="303" y="276"/>
                </a:cubicBezTo>
                <a:cubicBezTo>
                  <a:pt x="302" y="279"/>
                  <a:pt x="301" y="282"/>
                  <a:pt x="300" y="285"/>
                </a:cubicBezTo>
                <a:close/>
                <a:moveTo>
                  <a:pt x="337" y="319"/>
                </a:moveTo>
                <a:cubicBezTo>
                  <a:pt x="325" y="319"/>
                  <a:pt x="314" y="308"/>
                  <a:pt x="314" y="295"/>
                </a:cubicBezTo>
                <a:cubicBezTo>
                  <a:pt x="314" y="282"/>
                  <a:pt x="325" y="272"/>
                  <a:pt x="337" y="272"/>
                </a:cubicBezTo>
                <a:cubicBezTo>
                  <a:pt x="350" y="272"/>
                  <a:pt x="361" y="282"/>
                  <a:pt x="361" y="295"/>
                </a:cubicBezTo>
                <a:cubicBezTo>
                  <a:pt x="361" y="308"/>
                  <a:pt x="350" y="319"/>
                  <a:pt x="337" y="31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Freeform 3">
            <a:extLst>
              <a:ext uri="{FF2B5EF4-FFF2-40B4-BE49-F238E27FC236}">
                <a16:creationId xmlns="" xmlns:a16="http://schemas.microsoft.com/office/drawing/2014/main" id="{5E5B2E06-C54E-4994-A87F-B7C2DF15BDA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057400" y="4180532"/>
            <a:ext cx="661628" cy="602586"/>
          </a:xfrm>
          <a:custGeom>
            <a:avLst/>
            <a:gdLst>
              <a:gd name="T0" fmla="*/ 2147483647 w 460"/>
              <a:gd name="T1" fmla="*/ 2147483647 h 419"/>
              <a:gd name="T2" fmla="*/ 2147483647 w 460"/>
              <a:gd name="T3" fmla="*/ 2147483647 h 419"/>
              <a:gd name="T4" fmla="*/ 2147483647 w 460"/>
              <a:gd name="T5" fmla="*/ 2147483647 h 419"/>
              <a:gd name="T6" fmla="*/ 2147483647 w 460"/>
              <a:gd name="T7" fmla="*/ 2147483647 h 419"/>
              <a:gd name="T8" fmla="*/ 2147483647 w 460"/>
              <a:gd name="T9" fmla="*/ 2147483647 h 419"/>
              <a:gd name="T10" fmla="*/ 2147483647 w 460"/>
              <a:gd name="T11" fmla="*/ 2147483647 h 419"/>
              <a:gd name="T12" fmla="*/ 2147483647 w 460"/>
              <a:gd name="T13" fmla="*/ 2147483647 h 419"/>
              <a:gd name="T14" fmla="*/ 2147483647 w 460"/>
              <a:gd name="T15" fmla="*/ 2147483647 h 419"/>
              <a:gd name="T16" fmla="*/ 2147483647 w 460"/>
              <a:gd name="T17" fmla="*/ 2147483647 h 419"/>
              <a:gd name="T18" fmla="*/ 2147483647 w 460"/>
              <a:gd name="T19" fmla="*/ 2147483647 h 419"/>
              <a:gd name="T20" fmla="*/ 2147483647 w 460"/>
              <a:gd name="T21" fmla="*/ 2147483647 h 419"/>
              <a:gd name="T22" fmla="*/ 2147483647 w 460"/>
              <a:gd name="T23" fmla="*/ 2147483647 h 419"/>
              <a:gd name="T24" fmla="*/ 2147483647 w 460"/>
              <a:gd name="T25" fmla="*/ 2147483647 h 419"/>
              <a:gd name="T26" fmla="*/ 2147483647 w 460"/>
              <a:gd name="T27" fmla="*/ 2147483647 h 419"/>
              <a:gd name="T28" fmla="*/ 2147483647 w 460"/>
              <a:gd name="T29" fmla="*/ 2147483647 h 419"/>
              <a:gd name="T30" fmla="*/ 2147483647 w 460"/>
              <a:gd name="T31" fmla="*/ 2147483647 h 419"/>
              <a:gd name="T32" fmla="*/ 2147483647 w 460"/>
              <a:gd name="T33" fmla="*/ 2147483647 h 419"/>
              <a:gd name="T34" fmla="*/ 2147483647 w 460"/>
              <a:gd name="T35" fmla="*/ 2147483647 h 419"/>
              <a:gd name="T36" fmla="*/ 2147483647 w 460"/>
              <a:gd name="T37" fmla="*/ 2147483647 h 419"/>
              <a:gd name="T38" fmla="*/ 2147483647 w 460"/>
              <a:gd name="T39" fmla="*/ 2147483647 h 419"/>
              <a:gd name="T40" fmla="*/ 2147483647 w 460"/>
              <a:gd name="T41" fmla="*/ 2147483647 h 419"/>
              <a:gd name="T42" fmla="*/ 2147483647 w 460"/>
              <a:gd name="T43" fmla="*/ 2147483647 h 419"/>
              <a:gd name="T44" fmla="*/ 2147483647 w 460"/>
              <a:gd name="T45" fmla="*/ 2147483647 h 419"/>
              <a:gd name="T46" fmla="*/ 2147483647 w 460"/>
              <a:gd name="T47" fmla="*/ 2147483647 h 419"/>
              <a:gd name="T48" fmla="*/ 2147483647 w 460"/>
              <a:gd name="T49" fmla="*/ 2147483647 h 419"/>
              <a:gd name="T50" fmla="*/ 2147483647 w 460"/>
              <a:gd name="T51" fmla="*/ 2147483647 h 419"/>
              <a:gd name="T52" fmla="*/ 2147483647 w 460"/>
              <a:gd name="T53" fmla="*/ 2147483647 h 419"/>
              <a:gd name="T54" fmla="*/ 2147483647 w 460"/>
              <a:gd name="T55" fmla="*/ 2147483647 h 419"/>
              <a:gd name="T56" fmla="*/ 2147483647 w 460"/>
              <a:gd name="T57" fmla="*/ 2147483647 h 419"/>
              <a:gd name="T58" fmla="*/ 2147483647 w 460"/>
              <a:gd name="T59" fmla="*/ 2147483647 h 419"/>
              <a:gd name="T60" fmla="*/ 2147483647 w 460"/>
              <a:gd name="T61" fmla="*/ 2147483647 h 419"/>
              <a:gd name="T62" fmla="*/ 2147483647 w 460"/>
              <a:gd name="T63" fmla="*/ 2147483647 h 419"/>
              <a:gd name="T64" fmla="*/ 2147483647 w 460"/>
              <a:gd name="T65" fmla="*/ 2147483647 h 419"/>
              <a:gd name="T66" fmla="*/ 2147483647 w 460"/>
              <a:gd name="T67" fmla="*/ 2147483647 h 419"/>
              <a:gd name="T68" fmla="*/ 2147483647 w 460"/>
              <a:gd name="T69" fmla="*/ 2147483647 h 419"/>
              <a:gd name="T70" fmla="*/ 2147483647 w 460"/>
              <a:gd name="T71" fmla="*/ 2147483647 h 419"/>
              <a:gd name="T72" fmla="*/ 2147483647 w 460"/>
              <a:gd name="T73" fmla="*/ 2147483647 h 419"/>
              <a:gd name="T74" fmla="*/ 2147483647 w 460"/>
              <a:gd name="T75" fmla="*/ 2147483647 h 419"/>
              <a:gd name="T76" fmla="*/ 2147483647 w 460"/>
              <a:gd name="T77" fmla="*/ 2147483647 h 419"/>
              <a:gd name="T78" fmla="*/ 2147483647 w 460"/>
              <a:gd name="T79" fmla="*/ 2147483647 h 419"/>
              <a:gd name="T80" fmla="*/ 2147483647 w 460"/>
              <a:gd name="T81" fmla="*/ 2147483647 h 419"/>
              <a:gd name="T82" fmla="*/ 2147483647 w 460"/>
              <a:gd name="T83" fmla="*/ 2147483647 h 419"/>
              <a:gd name="T84" fmla="*/ 2147483647 w 460"/>
              <a:gd name="T85" fmla="*/ 2147483647 h 419"/>
              <a:gd name="T86" fmla="*/ 2147483647 w 460"/>
              <a:gd name="T87" fmla="*/ 2147483647 h 419"/>
              <a:gd name="T88" fmla="*/ 2147483647 w 460"/>
              <a:gd name="T89" fmla="*/ 2147483647 h 419"/>
              <a:gd name="T90" fmla="*/ 2147483647 w 460"/>
              <a:gd name="T91" fmla="*/ 2147483647 h 419"/>
              <a:gd name="T92" fmla="*/ 2147483647 w 460"/>
              <a:gd name="T93" fmla="*/ 2147483647 h 419"/>
              <a:gd name="T94" fmla="*/ 2147483647 w 460"/>
              <a:gd name="T95" fmla="*/ 2147483647 h 419"/>
              <a:gd name="T96" fmla="*/ 2147483647 w 460"/>
              <a:gd name="T97" fmla="*/ 2147483647 h 419"/>
              <a:gd name="T98" fmla="*/ 2147483647 w 460"/>
              <a:gd name="T99" fmla="*/ 2147483647 h 419"/>
              <a:gd name="T100" fmla="*/ 2147483647 w 460"/>
              <a:gd name="T101" fmla="*/ 2147483647 h 41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460" h="419">
                <a:moveTo>
                  <a:pt x="347" y="30"/>
                </a:moveTo>
                <a:cubicBezTo>
                  <a:pt x="355" y="30"/>
                  <a:pt x="362" y="23"/>
                  <a:pt x="362" y="15"/>
                </a:cubicBezTo>
                <a:cubicBezTo>
                  <a:pt x="362" y="7"/>
                  <a:pt x="355" y="0"/>
                  <a:pt x="347" y="0"/>
                </a:cubicBezTo>
                <a:cubicBezTo>
                  <a:pt x="339" y="0"/>
                  <a:pt x="332" y="7"/>
                  <a:pt x="332" y="15"/>
                </a:cubicBezTo>
                <a:cubicBezTo>
                  <a:pt x="332" y="23"/>
                  <a:pt x="339" y="30"/>
                  <a:pt x="347" y="30"/>
                </a:cubicBezTo>
                <a:close/>
                <a:moveTo>
                  <a:pt x="15" y="103"/>
                </a:moveTo>
                <a:cubicBezTo>
                  <a:pt x="7" y="103"/>
                  <a:pt x="0" y="110"/>
                  <a:pt x="0" y="118"/>
                </a:cubicBezTo>
                <a:cubicBezTo>
                  <a:pt x="0" y="126"/>
                  <a:pt x="7" y="133"/>
                  <a:pt x="15" y="133"/>
                </a:cubicBezTo>
                <a:cubicBezTo>
                  <a:pt x="23" y="133"/>
                  <a:pt x="30" y="126"/>
                  <a:pt x="30" y="118"/>
                </a:cubicBezTo>
                <a:cubicBezTo>
                  <a:pt x="30" y="110"/>
                  <a:pt x="23" y="103"/>
                  <a:pt x="15" y="103"/>
                </a:cubicBezTo>
                <a:close/>
                <a:moveTo>
                  <a:pt x="366" y="102"/>
                </a:moveTo>
                <a:cubicBezTo>
                  <a:pt x="363" y="104"/>
                  <a:pt x="363" y="109"/>
                  <a:pt x="365" y="113"/>
                </a:cubicBezTo>
                <a:cubicBezTo>
                  <a:pt x="374" y="123"/>
                  <a:pt x="382" y="135"/>
                  <a:pt x="388" y="147"/>
                </a:cubicBezTo>
                <a:cubicBezTo>
                  <a:pt x="371" y="153"/>
                  <a:pt x="371" y="153"/>
                  <a:pt x="371" y="153"/>
                </a:cubicBezTo>
                <a:cubicBezTo>
                  <a:pt x="369" y="153"/>
                  <a:pt x="368" y="156"/>
                  <a:pt x="368" y="158"/>
                </a:cubicBezTo>
                <a:cubicBezTo>
                  <a:pt x="375" y="199"/>
                  <a:pt x="375" y="199"/>
                  <a:pt x="375" y="199"/>
                </a:cubicBezTo>
                <a:cubicBezTo>
                  <a:pt x="370" y="201"/>
                  <a:pt x="367" y="206"/>
                  <a:pt x="367" y="212"/>
                </a:cubicBezTo>
                <a:cubicBezTo>
                  <a:pt x="367" y="212"/>
                  <a:pt x="367" y="213"/>
                  <a:pt x="367" y="213"/>
                </a:cubicBezTo>
                <a:cubicBezTo>
                  <a:pt x="325" y="226"/>
                  <a:pt x="325" y="226"/>
                  <a:pt x="325" y="226"/>
                </a:cubicBezTo>
                <a:cubicBezTo>
                  <a:pt x="323" y="227"/>
                  <a:pt x="322" y="228"/>
                  <a:pt x="321" y="230"/>
                </a:cubicBezTo>
                <a:cubicBezTo>
                  <a:pt x="321" y="231"/>
                  <a:pt x="321" y="233"/>
                  <a:pt x="322" y="234"/>
                </a:cubicBezTo>
                <a:cubicBezTo>
                  <a:pt x="334" y="252"/>
                  <a:pt x="334" y="252"/>
                  <a:pt x="334" y="252"/>
                </a:cubicBezTo>
                <a:cubicBezTo>
                  <a:pt x="331" y="255"/>
                  <a:pt x="329" y="258"/>
                  <a:pt x="329" y="263"/>
                </a:cubicBezTo>
                <a:cubicBezTo>
                  <a:pt x="329" y="265"/>
                  <a:pt x="330" y="268"/>
                  <a:pt x="331" y="270"/>
                </a:cubicBezTo>
                <a:cubicBezTo>
                  <a:pt x="309" y="291"/>
                  <a:pt x="309" y="291"/>
                  <a:pt x="309" y="291"/>
                </a:cubicBezTo>
                <a:cubicBezTo>
                  <a:pt x="308" y="292"/>
                  <a:pt x="307" y="293"/>
                  <a:pt x="307" y="295"/>
                </a:cubicBezTo>
                <a:cubicBezTo>
                  <a:pt x="307" y="296"/>
                  <a:pt x="308" y="298"/>
                  <a:pt x="309" y="299"/>
                </a:cubicBezTo>
                <a:cubicBezTo>
                  <a:pt x="338" y="319"/>
                  <a:pt x="338" y="319"/>
                  <a:pt x="338" y="319"/>
                </a:cubicBezTo>
                <a:cubicBezTo>
                  <a:pt x="338" y="320"/>
                  <a:pt x="338" y="321"/>
                  <a:pt x="338" y="322"/>
                </a:cubicBezTo>
                <a:cubicBezTo>
                  <a:pt x="338" y="330"/>
                  <a:pt x="343" y="336"/>
                  <a:pt x="350" y="337"/>
                </a:cubicBezTo>
                <a:cubicBezTo>
                  <a:pt x="353" y="353"/>
                  <a:pt x="353" y="353"/>
                  <a:pt x="353" y="353"/>
                </a:cubicBezTo>
                <a:cubicBezTo>
                  <a:pt x="322" y="384"/>
                  <a:pt x="280" y="402"/>
                  <a:pt x="233" y="403"/>
                </a:cubicBezTo>
                <a:cubicBezTo>
                  <a:pt x="260" y="365"/>
                  <a:pt x="260" y="365"/>
                  <a:pt x="260" y="365"/>
                </a:cubicBezTo>
                <a:cubicBezTo>
                  <a:pt x="260" y="365"/>
                  <a:pt x="261" y="365"/>
                  <a:pt x="261" y="365"/>
                </a:cubicBezTo>
                <a:cubicBezTo>
                  <a:pt x="270" y="365"/>
                  <a:pt x="276" y="359"/>
                  <a:pt x="276" y="351"/>
                </a:cubicBezTo>
                <a:cubicBezTo>
                  <a:pt x="276" y="342"/>
                  <a:pt x="270" y="336"/>
                  <a:pt x="261" y="336"/>
                </a:cubicBezTo>
                <a:cubicBezTo>
                  <a:pt x="257" y="336"/>
                  <a:pt x="253" y="338"/>
                  <a:pt x="250" y="341"/>
                </a:cubicBezTo>
                <a:cubicBezTo>
                  <a:pt x="173" y="319"/>
                  <a:pt x="173" y="319"/>
                  <a:pt x="173" y="319"/>
                </a:cubicBezTo>
                <a:cubicBezTo>
                  <a:pt x="122" y="297"/>
                  <a:pt x="122" y="297"/>
                  <a:pt x="122" y="297"/>
                </a:cubicBezTo>
                <a:cubicBezTo>
                  <a:pt x="140" y="282"/>
                  <a:pt x="140" y="282"/>
                  <a:pt x="140" y="282"/>
                </a:cubicBezTo>
                <a:cubicBezTo>
                  <a:pt x="142" y="283"/>
                  <a:pt x="144" y="284"/>
                  <a:pt x="147" y="284"/>
                </a:cubicBezTo>
                <a:cubicBezTo>
                  <a:pt x="151" y="284"/>
                  <a:pt x="154" y="283"/>
                  <a:pt x="156" y="281"/>
                </a:cubicBezTo>
                <a:cubicBezTo>
                  <a:pt x="181" y="296"/>
                  <a:pt x="181" y="296"/>
                  <a:pt x="181" y="296"/>
                </a:cubicBezTo>
                <a:cubicBezTo>
                  <a:pt x="181" y="296"/>
                  <a:pt x="182" y="297"/>
                  <a:pt x="183" y="297"/>
                </a:cubicBezTo>
                <a:cubicBezTo>
                  <a:pt x="183" y="297"/>
                  <a:pt x="184" y="297"/>
                  <a:pt x="184" y="297"/>
                </a:cubicBezTo>
                <a:cubicBezTo>
                  <a:pt x="202" y="294"/>
                  <a:pt x="202" y="294"/>
                  <a:pt x="202" y="294"/>
                </a:cubicBezTo>
                <a:cubicBezTo>
                  <a:pt x="205" y="299"/>
                  <a:pt x="210" y="302"/>
                  <a:pt x="216" y="302"/>
                </a:cubicBezTo>
                <a:cubicBezTo>
                  <a:pt x="224" y="302"/>
                  <a:pt x="230" y="296"/>
                  <a:pt x="230" y="288"/>
                </a:cubicBezTo>
                <a:cubicBezTo>
                  <a:pt x="230" y="279"/>
                  <a:pt x="224" y="273"/>
                  <a:pt x="216" y="273"/>
                </a:cubicBezTo>
                <a:cubicBezTo>
                  <a:pt x="209" y="273"/>
                  <a:pt x="203" y="278"/>
                  <a:pt x="201" y="284"/>
                </a:cubicBezTo>
                <a:cubicBezTo>
                  <a:pt x="184" y="287"/>
                  <a:pt x="184" y="287"/>
                  <a:pt x="184" y="287"/>
                </a:cubicBezTo>
                <a:cubicBezTo>
                  <a:pt x="162" y="272"/>
                  <a:pt x="162" y="272"/>
                  <a:pt x="162" y="272"/>
                </a:cubicBezTo>
                <a:cubicBezTo>
                  <a:pt x="162" y="271"/>
                  <a:pt x="162" y="270"/>
                  <a:pt x="162" y="269"/>
                </a:cubicBezTo>
                <a:cubicBezTo>
                  <a:pt x="162" y="268"/>
                  <a:pt x="162" y="266"/>
                  <a:pt x="161" y="265"/>
                </a:cubicBezTo>
                <a:cubicBezTo>
                  <a:pt x="179" y="250"/>
                  <a:pt x="179" y="250"/>
                  <a:pt x="179" y="250"/>
                </a:cubicBezTo>
                <a:cubicBezTo>
                  <a:pt x="181" y="249"/>
                  <a:pt x="181" y="247"/>
                  <a:pt x="181" y="245"/>
                </a:cubicBezTo>
                <a:cubicBezTo>
                  <a:pt x="174" y="223"/>
                  <a:pt x="174" y="223"/>
                  <a:pt x="174" y="223"/>
                </a:cubicBezTo>
                <a:cubicBezTo>
                  <a:pt x="177" y="221"/>
                  <a:pt x="179" y="217"/>
                  <a:pt x="179" y="212"/>
                </a:cubicBezTo>
                <a:cubicBezTo>
                  <a:pt x="179" y="212"/>
                  <a:pt x="179" y="211"/>
                  <a:pt x="179" y="211"/>
                </a:cubicBezTo>
                <a:cubicBezTo>
                  <a:pt x="190" y="206"/>
                  <a:pt x="190" y="206"/>
                  <a:pt x="190" y="206"/>
                </a:cubicBezTo>
                <a:cubicBezTo>
                  <a:pt x="193" y="209"/>
                  <a:pt x="197" y="211"/>
                  <a:pt x="201" y="211"/>
                </a:cubicBezTo>
                <a:cubicBezTo>
                  <a:pt x="209" y="211"/>
                  <a:pt x="216" y="204"/>
                  <a:pt x="216" y="196"/>
                </a:cubicBezTo>
                <a:cubicBezTo>
                  <a:pt x="216" y="188"/>
                  <a:pt x="209" y="181"/>
                  <a:pt x="201" y="181"/>
                </a:cubicBezTo>
                <a:cubicBezTo>
                  <a:pt x="199" y="181"/>
                  <a:pt x="198" y="181"/>
                  <a:pt x="197" y="182"/>
                </a:cubicBezTo>
                <a:cubicBezTo>
                  <a:pt x="146" y="125"/>
                  <a:pt x="146" y="125"/>
                  <a:pt x="146" y="125"/>
                </a:cubicBezTo>
                <a:cubicBezTo>
                  <a:pt x="147" y="123"/>
                  <a:pt x="147" y="121"/>
                  <a:pt x="147" y="119"/>
                </a:cubicBezTo>
                <a:cubicBezTo>
                  <a:pt x="147" y="111"/>
                  <a:pt x="140" y="104"/>
                  <a:pt x="132" y="104"/>
                </a:cubicBezTo>
                <a:cubicBezTo>
                  <a:pt x="128" y="104"/>
                  <a:pt x="124" y="106"/>
                  <a:pt x="121" y="109"/>
                </a:cubicBezTo>
                <a:cubicBezTo>
                  <a:pt x="104" y="104"/>
                  <a:pt x="104" y="104"/>
                  <a:pt x="104" y="104"/>
                </a:cubicBezTo>
                <a:cubicBezTo>
                  <a:pt x="126" y="81"/>
                  <a:pt x="154" y="64"/>
                  <a:pt x="186" y="55"/>
                </a:cubicBezTo>
                <a:cubicBezTo>
                  <a:pt x="198" y="85"/>
                  <a:pt x="198" y="85"/>
                  <a:pt x="198" y="85"/>
                </a:cubicBezTo>
                <a:cubicBezTo>
                  <a:pt x="196" y="88"/>
                  <a:pt x="195" y="91"/>
                  <a:pt x="195" y="94"/>
                </a:cubicBezTo>
                <a:cubicBezTo>
                  <a:pt x="195" y="102"/>
                  <a:pt x="201" y="109"/>
                  <a:pt x="209" y="109"/>
                </a:cubicBezTo>
                <a:cubicBezTo>
                  <a:pt x="210" y="109"/>
                  <a:pt x="211" y="109"/>
                  <a:pt x="212" y="109"/>
                </a:cubicBezTo>
                <a:cubicBezTo>
                  <a:pt x="238" y="141"/>
                  <a:pt x="238" y="141"/>
                  <a:pt x="238" y="141"/>
                </a:cubicBezTo>
                <a:cubicBezTo>
                  <a:pt x="237" y="143"/>
                  <a:pt x="237" y="145"/>
                  <a:pt x="237" y="147"/>
                </a:cubicBezTo>
                <a:cubicBezTo>
                  <a:pt x="237" y="155"/>
                  <a:pt x="243" y="162"/>
                  <a:pt x="252" y="162"/>
                </a:cubicBezTo>
                <a:cubicBezTo>
                  <a:pt x="260" y="162"/>
                  <a:pt x="266" y="155"/>
                  <a:pt x="266" y="147"/>
                </a:cubicBezTo>
                <a:cubicBezTo>
                  <a:pt x="266" y="145"/>
                  <a:pt x="266" y="143"/>
                  <a:pt x="265" y="141"/>
                </a:cubicBezTo>
                <a:cubicBezTo>
                  <a:pt x="292" y="109"/>
                  <a:pt x="292" y="109"/>
                  <a:pt x="292" y="109"/>
                </a:cubicBezTo>
                <a:cubicBezTo>
                  <a:pt x="293" y="110"/>
                  <a:pt x="295" y="110"/>
                  <a:pt x="297" y="110"/>
                </a:cubicBezTo>
                <a:cubicBezTo>
                  <a:pt x="305" y="110"/>
                  <a:pt x="312" y="103"/>
                  <a:pt x="312" y="95"/>
                </a:cubicBezTo>
                <a:cubicBezTo>
                  <a:pt x="312" y="89"/>
                  <a:pt x="308" y="84"/>
                  <a:pt x="303" y="82"/>
                </a:cubicBezTo>
                <a:cubicBezTo>
                  <a:pt x="305" y="66"/>
                  <a:pt x="305" y="66"/>
                  <a:pt x="305" y="66"/>
                </a:cubicBezTo>
                <a:cubicBezTo>
                  <a:pt x="319" y="73"/>
                  <a:pt x="332" y="81"/>
                  <a:pt x="344" y="91"/>
                </a:cubicBezTo>
                <a:cubicBezTo>
                  <a:pt x="347" y="94"/>
                  <a:pt x="352" y="94"/>
                  <a:pt x="355" y="90"/>
                </a:cubicBezTo>
                <a:cubicBezTo>
                  <a:pt x="358" y="87"/>
                  <a:pt x="358" y="82"/>
                  <a:pt x="354" y="79"/>
                </a:cubicBezTo>
                <a:cubicBezTo>
                  <a:pt x="319" y="49"/>
                  <a:pt x="276" y="34"/>
                  <a:pt x="230" y="34"/>
                </a:cubicBezTo>
                <a:cubicBezTo>
                  <a:pt x="124" y="34"/>
                  <a:pt x="38" y="120"/>
                  <a:pt x="38" y="227"/>
                </a:cubicBezTo>
                <a:cubicBezTo>
                  <a:pt x="38" y="333"/>
                  <a:pt x="124" y="419"/>
                  <a:pt x="230" y="419"/>
                </a:cubicBezTo>
                <a:cubicBezTo>
                  <a:pt x="337" y="419"/>
                  <a:pt x="423" y="333"/>
                  <a:pt x="423" y="227"/>
                </a:cubicBezTo>
                <a:cubicBezTo>
                  <a:pt x="423" y="180"/>
                  <a:pt x="407" y="138"/>
                  <a:pt x="378" y="103"/>
                </a:cubicBezTo>
                <a:cubicBezTo>
                  <a:pt x="375" y="99"/>
                  <a:pt x="370" y="99"/>
                  <a:pt x="366" y="102"/>
                </a:cubicBezTo>
                <a:close/>
                <a:moveTo>
                  <a:pt x="258" y="134"/>
                </a:moveTo>
                <a:cubicBezTo>
                  <a:pt x="256" y="133"/>
                  <a:pt x="254" y="132"/>
                  <a:pt x="252" y="132"/>
                </a:cubicBezTo>
                <a:cubicBezTo>
                  <a:pt x="249" y="132"/>
                  <a:pt x="247" y="133"/>
                  <a:pt x="245" y="134"/>
                </a:cubicBezTo>
                <a:cubicBezTo>
                  <a:pt x="221" y="104"/>
                  <a:pt x="221" y="104"/>
                  <a:pt x="221" y="104"/>
                </a:cubicBezTo>
                <a:cubicBezTo>
                  <a:pt x="222" y="103"/>
                  <a:pt x="223" y="101"/>
                  <a:pt x="223" y="100"/>
                </a:cubicBezTo>
                <a:cubicBezTo>
                  <a:pt x="283" y="100"/>
                  <a:pt x="283" y="100"/>
                  <a:pt x="283" y="100"/>
                </a:cubicBezTo>
                <a:cubicBezTo>
                  <a:pt x="283" y="101"/>
                  <a:pt x="284" y="102"/>
                  <a:pt x="284" y="103"/>
                </a:cubicBezTo>
                <a:lnTo>
                  <a:pt x="258" y="134"/>
                </a:lnTo>
                <a:close/>
                <a:moveTo>
                  <a:pt x="295" y="62"/>
                </a:moveTo>
                <a:cubicBezTo>
                  <a:pt x="293" y="81"/>
                  <a:pt x="293" y="81"/>
                  <a:pt x="293" y="81"/>
                </a:cubicBezTo>
                <a:cubicBezTo>
                  <a:pt x="288" y="82"/>
                  <a:pt x="285" y="86"/>
                  <a:pt x="283" y="90"/>
                </a:cubicBezTo>
                <a:cubicBezTo>
                  <a:pt x="223" y="90"/>
                  <a:pt x="223" y="90"/>
                  <a:pt x="223" y="90"/>
                </a:cubicBezTo>
                <a:cubicBezTo>
                  <a:pt x="223" y="89"/>
                  <a:pt x="223" y="88"/>
                  <a:pt x="223" y="88"/>
                </a:cubicBezTo>
                <a:cubicBezTo>
                  <a:pt x="266" y="53"/>
                  <a:pt x="266" y="53"/>
                  <a:pt x="266" y="53"/>
                </a:cubicBezTo>
                <a:cubicBezTo>
                  <a:pt x="276" y="55"/>
                  <a:pt x="286" y="58"/>
                  <a:pt x="295" y="62"/>
                </a:cubicBezTo>
                <a:close/>
                <a:moveTo>
                  <a:pt x="230" y="50"/>
                </a:moveTo>
                <a:cubicBezTo>
                  <a:pt x="238" y="50"/>
                  <a:pt x="245" y="50"/>
                  <a:pt x="253" y="51"/>
                </a:cubicBezTo>
                <a:cubicBezTo>
                  <a:pt x="215" y="81"/>
                  <a:pt x="215" y="81"/>
                  <a:pt x="215" y="81"/>
                </a:cubicBezTo>
                <a:cubicBezTo>
                  <a:pt x="214" y="80"/>
                  <a:pt x="212" y="79"/>
                  <a:pt x="209" y="79"/>
                </a:cubicBezTo>
                <a:cubicBezTo>
                  <a:pt x="208" y="79"/>
                  <a:pt x="207" y="80"/>
                  <a:pt x="206" y="80"/>
                </a:cubicBezTo>
                <a:cubicBezTo>
                  <a:pt x="196" y="53"/>
                  <a:pt x="196" y="53"/>
                  <a:pt x="196" y="53"/>
                </a:cubicBezTo>
                <a:cubicBezTo>
                  <a:pt x="207" y="51"/>
                  <a:pt x="219" y="50"/>
                  <a:pt x="230" y="50"/>
                </a:cubicBezTo>
                <a:close/>
                <a:moveTo>
                  <a:pt x="133" y="274"/>
                </a:moveTo>
                <a:cubicBezTo>
                  <a:pt x="115" y="290"/>
                  <a:pt x="115" y="290"/>
                  <a:pt x="115" y="290"/>
                </a:cubicBezTo>
                <a:cubicBezTo>
                  <a:pt x="97" y="254"/>
                  <a:pt x="97" y="254"/>
                  <a:pt x="97" y="254"/>
                </a:cubicBezTo>
                <a:cubicBezTo>
                  <a:pt x="99" y="251"/>
                  <a:pt x="101" y="248"/>
                  <a:pt x="101" y="244"/>
                </a:cubicBezTo>
                <a:cubicBezTo>
                  <a:pt x="101" y="243"/>
                  <a:pt x="101" y="243"/>
                  <a:pt x="101" y="242"/>
                </a:cubicBezTo>
                <a:cubicBezTo>
                  <a:pt x="115" y="237"/>
                  <a:pt x="115" y="237"/>
                  <a:pt x="115" y="237"/>
                </a:cubicBezTo>
                <a:cubicBezTo>
                  <a:pt x="118" y="239"/>
                  <a:pt x="122" y="241"/>
                  <a:pt x="126" y="241"/>
                </a:cubicBezTo>
                <a:cubicBezTo>
                  <a:pt x="127" y="241"/>
                  <a:pt x="127" y="241"/>
                  <a:pt x="128" y="241"/>
                </a:cubicBezTo>
                <a:cubicBezTo>
                  <a:pt x="136" y="259"/>
                  <a:pt x="136" y="259"/>
                  <a:pt x="136" y="259"/>
                </a:cubicBezTo>
                <a:cubicBezTo>
                  <a:pt x="134" y="261"/>
                  <a:pt x="132" y="265"/>
                  <a:pt x="132" y="269"/>
                </a:cubicBezTo>
                <a:cubicBezTo>
                  <a:pt x="132" y="271"/>
                  <a:pt x="133" y="273"/>
                  <a:pt x="133" y="274"/>
                </a:cubicBezTo>
                <a:close/>
                <a:moveTo>
                  <a:pt x="155" y="257"/>
                </a:moveTo>
                <a:cubicBezTo>
                  <a:pt x="153" y="255"/>
                  <a:pt x="150" y="254"/>
                  <a:pt x="147" y="254"/>
                </a:cubicBezTo>
                <a:cubicBezTo>
                  <a:pt x="147" y="254"/>
                  <a:pt x="146" y="254"/>
                  <a:pt x="145" y="254"/>
                </a:cubicBezTo>
                <a:cubicBezTo>
                  <a:pt x="137" y="237"/>
                  <a:pt x="137" y="237"/>
                  <a:pt x="137" y="237"/>
                </a:cubicBezTo>
                <a:cubicBezTo>
                  <a:pt x="139" y="234"/>
                  <a:pt x="141" y="230"/>
                  <a:pt x="141" y="227"/>
                </a:cubicBezTo>
                <a:cubicBezTo>
                  <a:pt x="141" y="226"/>
                  <a:pt x="141" y="226"/>
                  <a:pt x="141" y="226"/>
                </a:cubicBezTo>
                <a:cubicBezTo>
                  <a:pt x="153" y="221"/>
                  <a:pt x="153" y="221"/>
                  <a:pt x="153" y="221"/>
                </a:cubicBezTo>
                <a:cubicBezTo>
                  <a:pt x="156" y="224"/>
                  <a:pt x="160" y="226"/>
                  <a:pt x="164" y="227"/>
                </a:cubicBezTo>
                <a:cubicBezTo>
                  <a:pt x="170" y="244"/>
                  <a:pt x="170" y="244"/>
                  <a:pt x="170" y="244"/>
                </a:cubicBezTo>
                <a:lnTo>
                  <a:pt x="155" y="257"/>
                </a:lnTo>
                <a:close/>
                <a:moveTo>
                  <a:pt x="175" y="201"/>
                </a:moveTo>
                <a:cubicBezTo>
                  <a:pt x="173" y="199"/>
                  <a:pt x="169" y="197"/>
                  <a:pt x="165" y="197"/>
                </a:cubicBezTo>
                <a:cubicBezTo>
                  <a:pt x="157" y="197"/>
                  <a:pt x="150" y="204"/>
                  <a:pt x="150" y="212"/>
                </a:cubicBezTo>
                <a:cubicBezTo>
                  <a:pt x="137" y="217"/>
                  <a:pt x="137" y="217"/>
                  <a:pt x="137" y="217"/>
                </a:cubicBezTo>
                <a:cubicBezTo>
                  <a:pt x="134" y="214"/>
                  <a:pt x="130" y="212"/>
                  <a:pt x="126" y="212"/>
                </a:cubicBezTo>
                <a:cubicBezTo>
                  <a:pt x="125" y="212"/>
                  <a:pt x="125" y="212"/>
                  <a:pt x="124" y="212"/>
                </a:cubicBezTo>
                <a:cubicBezTo>
                  <a:pt x="109" y="180"/>
                  <a:pt x="109" y="180"/>
                  <a:pt x="109" y="180"/>
                </a:cubicBezTo>
                <a:cubicBezTo>
                  <a:pt x="110" y="179"/>
                  <a:pt x="111" y="178"/>
                  <a:pt x="112" y="177"/>
                </a:cubicBezTo>
                <a:cubicBezTo>
                  <a:pt x="186" y="197"/>
                  <a:pt x="186" y="197"/>
                  <a:pt x="186" y="197"/>
                </a:cubicBezTo>
                <a:cubicBezTo>
                  <a:pt x="186" y="197"/>
                  <a:pt x="186" y="197"/>
                  <a:pt x="186" y="197"/>
                </a:cubicBezTo>
                <a:lnTo>
                  <a:pt x="175" y="201"/>
                </a:lnTo>
                <a:close/>
                <a:moveTo>
                  <a:pt x="130" y="134"/>
                </a:moveTo>
                <a:cubicBezTo>
                  <a:pt x="131" y="134"/>
                  <a:pt x="131" y="134"/>
                  <a:pt x="132" y="134"/>
                </a:cubicBezTo>
                <a:cubicBezTo>
                  <a:pt x="135" y="134"/>
                  <a:pt x="137" y="133"/>
                  <a:pt x="139" y="132"/>
                </a:cubicBezTo>
                <a:cubicBezTo>
                  <a:pt x="188" y="187"/>
                  <a:pt x="188" y="187"/>
                  <a:pt x="188" y="187"/>
                </a:cubicBezTo>
                <a:cubicBezTo>
                  <a:pt x="114" y="168"/>
                  <a:pt x="114" y="168"/>
                  <a:pt x="114" y="168"/>
                </a:cubicBezTo>
                <a:cubicBezTo>
                  <a:pt x="114" y="164"/>
                  <a:pt x="113" y="161"/>
                  <a:pt x="111" y="159"/>
                </a:cubicBezTo>
                <a:lnTo>
                  <a:pt x="130" y="134"/>
                </a:lnTo>
                <a:close/>
                <a:moveTo>
                  <a:pt x="96" y="112"/>
                </a:moveTo>
                <a:cubicBezTo>
                  <a:pt x="118" y="119"/>
                  <a:pt x="118" y="119"/>
                  <a:pt x="118" y="119"/>
                </a:cubicBezTo>
                <a:cubicBezTo>
                  <a:pt x="118" y="119"/>
                  <a:pt x="117" y="119"/>
                  <a:pt x="117" y="119"/>
                </a:cubicBezTo>
                <a:cubicBezTo>
                  <a:pt x="117" y="123"/>
                  <a:pt x="119" y="126"/>
                  <a:pt x="121" y="129"/>
                </a:cubicBezTo>
                <a:cubicBezTo>
                  <a:pt x="102" y="154"/>
                  <a:pt x="102" y="154"/>
                  <a:pt x="102" y="154"/>
                </a:cubicBezTo>
                <a:cubicBezTo>
                  <a:pt x="101" y="154"/>
                  <a:pt x="100" y="154"/>
                  <a:pt x="100" y="154"/>
                </a:cubicBezTo>
                <a:cubicBezTo>
                  <a:pt x="95" y="154"/>
                  <a:pt x="90" y="157"/>
                  <a:pt x="88" y="160"/>
                </a:cubicBezTo>
                <a:cubicBezTo>
                  <a:pt x="69" y="155"/>
                  <a:pt x="69" y="155"/>
                  <a:pt x="69" y="155"/>
                </a:cubicBezTo>
                <a:cubicBezTo>
                  <a:pt x="76" y="139"/>
                  <a:pt x="85" y="125"/>
                  <a:pt x="96" y="112"/>
                </a:cubicBezTo>
                <a:close/>
                <a:moveTo>
                  <a:pt x="65" y="165"/>
                </a:moveTo>
                <a:cubicBezTo>
                  <a:pt x="85" y="170"/>
                  <a:pt x="85" y="170"/>
                  <a:pt x="85" y="170"/>
                </a:cubicBezTo>
                <a:cubicBezTo>
                  <a:pt x="85" y="178"/>
                  <a:pt x="92" y="184"/>
                  <a:pt x="99" y="184"/>
                </a:cubicBezTo>
                <a:cubicBezTo>
                  <a:pt x="115" y="216"/>
                  <a:pt x="115" y="216"/>
                  <a:pt x="115" y="216"/>
                </a:cubicBezTo>
                <a:cubicBezTo>
                  <a:pt x="113" y="219"/>
                  <a:pt x="111" y="223"/>
                  <a:pt x="111" y="227"/>
                </a:cubicBezTo>
                <a:cubicBezTo>
                  <a:pt x="111" y="227"/>
                  <a:pt x="111" y="227"/>
                  <a:pt x="111" y="227"/>
                </a:cubicBezTo>
                <a:cubicBezTo>
                  <a:pt x="96" y="233"/>
                  <a:pt x="96" y="233"/>
                  <a:pt x="96" y="233"/>
                </a:cubicBezTo>
                <a:cubicBezTo>
                  <a:pt x="94" y="231"/>
                  <a:pt x="90" y="229"/>
                  <a:pt x="86" y="229"/>
                </a:cubicBezTo>
                <a:cubicBezTo>
                  <a:pt x="86" y="229"/>
                  <a:pt x="85" y="229"/>
                  <a:pt x="85" y="229"/>
                </a:cubicBezTo>
                <a:cubicBezTo>
                  <a:pt x="60" y="178"/>
                  <a:pt x="60" y="178"/>
                  <a:pt x="60" y="178"/>
                </a:cubicBezTo>
                <a:cubicBezTo>
                  <a:pt x="62" y="174"/>
                  <a:pt x="63" y="169"/>
                  <a:pt x="65" y="165"/>
                </a:cubicBezTo>
                <a:close/>
                <a:moveTo>
                  <a:pt x="54" y="227"/>
                </a:moveTo>
                <a:cubicBezTo>
                  <a:pt x="54" y="215"/>
                  <a:pt x="55" y="204"/>
                  <a:pt x="57" y="193"/>
                </a:cubicBezTo>
                <a:cubicBezTo>
                  <a:pt x="76" y="233"/>
                  <a:pt x="76" y="233"/>
                  <a:pt x="76" y="233"/>
                </a:cubicBezTo>
                <a:cubicBezTo>
                  <a:pt x="73" y="236"/>
                  <a:pt x="71" y="240"/>
                  <a:pt x="71" y="244"/>
                </a:cubicBezTo>
                <a:cubicBezTo>
                  <a:pt x="71" y="252"/>
                  <a:pt x="78" y="259"/>
                  <a:pt x="86" y="259"/>
                </a:cubicBezTo>
                <a:cubicBezTo>
                  <a:pt x="87" y="259"/>
                  <a:pt x="88" y="258"/>
                  <a:pt x="88" y="258"/>
                </a:cubicBezTo>
                <a:cubicBezTo>
                  <a:pt x="109" y="300"/>
                  <a:pt x="109" y="300"/>
                  <a:pt x="109" y="300"/>
                </a:cubicBezTo>
                <a:cubicBezTo>
                  <a:pt x="109" y="302"/>
                  <a:pt x="110" y="302"/>
                  <a:pt x="111" y="303"/>
                </a:cubicBezTo>
                <a:cubicBezTo>
                  <a:pt x="167" y="328"/>
                  <a:pt x="167" y="328"/>
                  <a:pt x="167" y="328"/>
                </a:cubicBezTo>
                <a:cubicBezTo>
                  <a:pt x="180" y="361"/>
                  <a:pt x="180" y="361"/>
                  <a:pt x="180" y="361"/>
                </a:cubicBezTo>
                <a:cubicBezTo>
                  <a:pt x="176" y="364"/>
                  <a:pt x="174" y="368"/>
                  <a:pt x="174" y="372"/>
                </a:cubicBezTo>
                <a:cubicBezTo>
                  <a:pt x="174" y="380"/>
                  <a:pt x="179" y="385"/>
                  <a:pt x="185" y="387"/>
                </a:cubicBezTo>
                <a:cubicBezTo>
                  <a:pt x="186" y="398"/>
                  <a:pt x="186" y="398"/>
                  <a:pt x="186" y="398"/>
                </a:cubicBezTo>
                <a:cubicBezTo>
                  <a:pt x="110" y="378"/>
                  <a:pt x="54" y="309"/>
                  <a:pt x="54" y="227"/>
                </a:cubicBezTo>
                <a:close/>
                <a:moveTo>
                  <a:pt x="179" y="331"/>
                </a:moveTo>
                <a:cubicBezTo>
                  <a:pt x="247" y="351"/>
                  <a:pt x="247" y="351"/>
                  <a:pt x="247" y="351"/>
                </a:cubicBezTo>
                <a:cubicBezTo>
                  <a:pt x="247" y="351"/>
                  <a:pt x="247" y="351"/>
                  <a:pt x="247" y="351"/>
                </a:cubicBezTo>
                <a:cubicBezTo>
                  <a:pt x="201" y="364"/>
                  <a:pt x="201" y="364"/>
                  <a:pt x="201" y="364"/>
                </a:cubicBezTo>
                <a:cubicBezTo>
                  <a:pt x="198" y="360"/>
                  <a:pt x="194" y="358"/>
                  <a:pt x="189" y="358"/>
                </a:cubicBezTo>
                <a:lnTo>
                  <a:pt x="179" y="331"/>
                </a:lnTo>
                <a:close/>
                <a:moveTo>
                  <a:pt x="221" y="403"/>
                </a:moveTo>
                <a:cubicBezTo>
                  <a:pt x="213" y="403"/>
                  <a:pt x="205" y="402"/>
                  <a:pt x="197" y="400"/>
                </a:cubicBezTo>
                <a:cubicBezTo>
                  <a:pt x="195" y="386"/>
                  <a:pt x="195" y="386"/>
                  <a:pt x="195" y="386"/>
                </a:cubicBezTo>
                <a:cubicBezTo>
                  <a:pt x="200" y="383"/>
                  <a:pt x="203" y="379"/>
                  <a:pt x="203" y="374"/>
                </a:cubicBezTo>
                <a:cubicBezTo>
                  <a:pt x="250" y="361"/>
                  <a:pt x="250" y="361"/>
                  <a:pt x="250" y="361"/>
                </a:cubicBezTo>
                <a:cubicBezTo>
                  <a:pt x="251" y="361"/>
                  <a:pt x="251" y="361"/>
                  <a:pt x="251" y="361"/>
                </a:cubicBezTo>
                <a:lnTo>
                  <a:pt x="221" y="403"/>
                </a:lnTo>
                <a:close/>
                <a:moveTo>
                  <a:pt x="352" y="308"/>
                </a:moveTo>
                <a:cubicBezTo>
                  <a:pt x="349" y="308"/>
                  <a:pt x="346" y="309"/>
                  <a:pt x="343" y="311"/>
                </a:cubicBezTo>
                <a:cubicBezTo>
                  <a:pt x="320" y="294"/>
                  <a:pt x="320" y="294"/>
                  <a:pt x="320" y="294"/>
                </a:cubicBezTo>
                <a:cubicBezTo>
                  <a:pt x="339" y="276"/>
                  <a:pt x="339" y="276"/>
                  <a:pt x="339" y="276"/>
                </a:cubicBezTo>
                <a:cubicBezTo>
                  <a:pt x="341" y="277"/>
                  <a:pt x="342" y="277"/>
                  <a:pt x="344" y="277"/>
                </a:cubicBezTo>
                <a:cubicBezTo>
                  <a:pt x="348" y="277"/>
                  <a:pt x="351" y="276"/>
                  <a:pt x="353" y="274"/>
                </a:cubicBezTo>
                <a:cubicBezTo>
                  <a:pt x="365" y="283"/>
                  <a:pt x="365" y="283"/>
                  <a:pt x="365" y="283"/>
                </a:cubicBezTo>
                <a:cubicBezTo>
                  <a:pt x="365" y="285"/>
                  <a:pt x="364" y="286"/>
                  <a:pt x="364" y="288"/>
                </a:cubicBezTo>
                <a:cubicBezTo>
                  <a:pt x="364" y="291"/>
                  <a:pt x="365" y="293"/>
                  <a:pt x="367" y="296"/>
                </a:cubicBezTo>
                <a:cubicBezTo>
                  <a:pt x="357" y="308"/>
                  <a:pt x="357" y="308"/>
                  <a:pt x="357" y="308"/>
                </a:cubicBezTo>
                <a:cubicBezTo>
                  <a:pt x="356" y="308"/>
                  <a:pt x="354" y="308"/>
                  <a:pt x="352" y="308"/>
                </a:cubicBezTo>
                <a:close/>
                <a:moveTo>
                  <a:pt x="362" y="345"/>
                </a:moveTo>
                <a:cubicBezTo>
                  <a:pt x="360" y="335"/>
                  <a:pt x="360" y="335"/>
                  <a:pt x="360" y="335"/>
                </a:cubicBezTo>
                <a:cubicBezTo>
                  <a:pt x="364" y="333"/>
                  <a:pt x="367" y="328"/>
                  <a:pt x="367" y="322"/>
                </a:cubicBezTo>
                <a:cubicBezTo>
                  <a:pt x="367" y="320"/>
                  <a:pt x="366" y="317"/>
                  <a:pt x="365" y="315"/>
                </a:cubicBezTo>
                <a:cubicBezTo>
                  <a:pt x="375" y="302"/>
                  <a:pt x="375" y="302"/>
                  <a:pt x="375" y="302"/>
                </a:cubicBezTo>
                <a:cubicBezTo>
                  <a:pt x="376" y="302"/>
                  <a:pt x="378" y="302"/>
                  <a:pt x="379" y="302"/>
                </a:cubicBezTo>
                <a:cubicBezTo>
                  <a:pt x="382" y="302"/>
                  <a:pt x="385" y="302"/>
                  <a:pt x="387" y="300"/>
                </a:cubicBezTo>
                <a:cubicBezTo>
                  <a:pt x="390" y="302"/>
                  <a:pt x="390" y="302"/>
                  <a:pt x="390" y="302"/>
                </a:cubicBezTo>
                <a:cubicBezTo>
                  <a:pt x="383" y="318"/>
                  <a:pt x="373" y="332"/>
                  <a:pt x="362" y="345"/>
                </a:cubicBezTo>
                <a:close/>
                <a:moveTo>
                  <a:pt x="394" y="293"/>
                </a:moveTo>
                <a:cubicBezTo>
                  <a:pt x="393" y="292"/>
                  <a:pt x="393" y="292"/>
                  <a:pt x="393" y="292"/>
                </a:cubicBezTo>
                <a:cubicBezTo>
                  <a:pt x="394" y="291"/>
                  <a:pt x="394" y="289"/>
                  <a:pt x="394" y="288"/>
                </a:cubicBezTo>
                <a:cubicBezTo>
                  <a:pt x="394" y="284"/>
                  <a:pt x="393" y="281"/>
                  <a:pt x="391" y="279"/>
                </a:cubicBezTo>
                <a:cubicBezTo>
                  <a:pt x="403" y="262"/>
                  <a:pt x="403" y="262"/>
                  <a:pt x="403" y="262"/>
                </a:cubicBezTo>
                <a:cubicBezTo>
                  <a:pt x="401" y="273"/>
                  <a:pt x="398" y="283"/>
                  <a:pt x="394" y="293"/>
                </a:cubicBezTo>
                <a:close/>
                <a:moveTo>
                  <a:pt x="406" y="241"/>
                </a:moveTo>
                <a:cubicBezTo>
                  <a:pt x="383" y="273"/>
                  <a:pt x="383" y="273"/>
                  <a:pt x="383" y="273"/>
                </a:cubicBezTo>
                <a:cubicBezTo>
                  <a:pt x="382" y="273"/>
                  <a:pt x="381" y="273"/>
                  <a:pt x="379" y="273"/>
                </a:cubicBezTo>
                <a:cubicBezTo>
                  <a:pt x="376" y="273"/>
                  <a:pt x="374" y="274"/>
                  <a:pt x="371" y="275"/>
                </a:cubicBezTo>
                <a:cubicBezTo>
                  <a:pt x="359" y="266"/>
                  <a:pt x="359" y="266"/>
                  <a:pt x="359" y="266"/>
                </a:cubicBezTo>
                <a:cubicBezTo>
                  <a:pt x="359" y="265"/>
                  <a:pt x="359" y="264"/>
                  <a:pt x="359" y="263"/>
                </a:cubicBezTo>
                <a:cubicBezTo>
                  <a:pt x="359" y="254"/>
                  <a:pt x="352" y="248"/>
                  <a:pt x="344" y="248"/>
                </a:cubicBezTo>
                <a:cubicBezTo>
                  <a:pt x="344" y="248"/>
                  <a:pt x="343" y="248"/>
                  <a:pt x="343" y="248"/>
                </a:cubicBezTo>
                <a:cubicBezTo>
                  <a:pt x="334" y="234"/>
                  <a:pt x="334" y="234"/>
                  <a:pt x="334" y="234"/>
                </a:cubicBezTo>
                <a:cubicBezTo>
                  <a:pt x="371" y="222"/>
                  <a:pt x="371" y="222"/>
                  <a:pt x="371" y="222"/>
                </a:cubicBezTo>
                <a:cubicBezTo>
                  <a:pt x="374" y="225"/>
                  <a:pt x="378" y="227"/>
                  <a:pt x="382" y="227"/>
                </a:cubicBezTo>
                <a:cubicBezTo>
                  <a:pt x="385" y="227"/>
                  <a:pt x="389" y="225"/>
                  <a:pt x="391" y="223"/>
                </a:cubicBezTo>
                <a:cubicBezTo>
                  <a:pt x="407" y="230"/>
                  <a:pt x="407" y="230"/>
                  <a:pt x="407" y="230"/>
                </a:cubicBezTo>
                <a:cubicBezTo>
                  <a:pt x="407" y="234"/>
                  <a:pt x="407" y="238"/>
                  <a:pt x="406" y="241"/>
                </a:cubicBezTo>
                <a:close/>
                <a:moveTo>
                  <a:pt x="407" y="219"/>
                </a:moveTo>
                <a:cubicBezTo>
                  <a:pt x="396" y="214"/>
                  <a:pt x="396" y="214"/>
                  <a:pt x="396" y="214"/>
                </a:cubicBezTo>
                <a:cubicBezTo>
                  <a:pt x="396" y="214"/>
                  <a:pt x="397" y="213"/>
                  <a:pt x="397" y="212"/>
                </a:cubicBezTo>
                <a:cubicBezTo>
                  <a:pt x="397" y="205"/>
                  <a:pt x="391" y="199"/>
                  <a:pt x="385" y="197"/>
                </a:cubicBezTo>
                <a:cubicBezTo>
                  <a:pt x="379" y="161"/>
                  <a:pt x="379" y="161"/>
                  <a:pt x="379" y="161"/>
                </a:cubicBezTo>
                <a:cubicBezTo>
                  <a:pt x="392" y="156"/>
                  <a:pt x="392" y="156"/>
                  <a:pt x="392" y="156"/>
                </a:cubicBezTo>
                <a:cubicBezTo>
                  <a:pt x="401" y="175"/>
                  <a:pt x="406" y="197"/>
                  <a:pt x="407" y="219"/>
                </a:cubicBezTo>
                <a:close/>
                <a:moveTo>
                  <a:pt x="445" y="331"/>
                </a:moveTo>
                <a:cubicBezTo>
                  <a:pt x="437" y="331"/>
                  <a:pt x="430" y="338"/>
                  <a:pt x="430" y="346"/>
                </a:cubicBezTo>
                <a:cubicBezTo>
                  <a:pt x="430" y="354"/>
                  <a:pt x="437" y="361"/>
                  <a:pt x="445" y="361"/>
                </a:cubicBezTo>
                <a:cubicBezTo>
                  <a:pt x="453" y="361"/>
                  <a:pt x="460" y="354"/>
                  <a:pt x="460" y="346"/>
                </a:cubicBezTo>
                <a:cubicBezTo>
                  <a:pt x="460" y="338"/>
                  <a:pt x="453" y="331"/>
                  <a:pt x="445" y="331"/>
                </a:cubicBezTo>
                <a:close/>
                <a:moveTo>
                  <a:pt x="332" y="169"/>
                </a:moveTo>
                <a:cubicBezTo>
                  <a:pt x="324" y="169"/>
                  <a:pt x="317" y="176"/>
                  <a:pt x="317" y="184"/>
                </a:cubicBezTo>
                <a:cubicBezTo>
                  <a:pt x="317" y="192"/>
                  <a:pt x="324" y="199"/>
                  <a:pt x="332" y="199"/>
                </a:cubicBezTo>
                <a:cubicBezTo>
                  <a:pt x="340" y="199"/>
                  <a:pt x="347" y="192"/>
                  <a:pt x="347" y="184"/>
                </a:cubicBezTo>
                <a:cubicBezTo>
                  <a:pt x="347" y="176"/>
                  <a:pt x="340" y="169"/>
                  <a:pt x="332" y="169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51327" tIns="25714" rIns="51327" bIns="25714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</p:txBody>
      </p:sp>
      <p:pic>
        <p:nvPicPr>
          <p:cNvPr id="17" name="Econ2011">
            <a:extLst>
              <a:ext uri="{FF2B5EF4-FFF2-40B4-BE49-F238E27FC236}">
                <a16:creationId xmlns="" xmlns:a16="http://schemas.microsoft.com/office/drawing/2014/main" id="{87C8ED6B-DF9B-BF4C-B053-5E8BC69FA90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09564" y="360000"/>
            <a:ext cx="444500" cy="58719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="" xmlns:a16="http://schemas.microsoft.com/office/drawing/2014/main" id="{2B66A0F7-0F06-DE41-8C20-396428E1589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132078"/>
            <a:ext cx="12192000" cy="725921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="" xmlns:a16="http://schemas.microsoft.com/office/drawing/2014/main" id="{CAAA5B3D-5B55-1343-AEB1-03B7A59ABCB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7588" y="116422"/>
            <a:ext cx="10769600" cy="1612900"/>
          </a:xfrm>
          <a:prstGeom prst="rect">
            <a:avLst/>
          </a:prstGeom>
        </p:spPr>
      </p:pic>
      <p:sp>
        <p:nvSpPr>
          <p:cNvPr id="21" name="CasellaDiTesto 20"/>
          <p:cNvSpPr txBox="1"/>
          <p:nvPr/>
        </p:nvSpPr>
        <p:spPr>
          <a:xfrm>
            <a:off x="488400" y="4464933"/>
            <a:ext cx="7464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4400" dirty="0" smtClean="0">
                <a:solidFill>
                  <a:schemeClr val="bg1"/>
                </a:solidFill>
              </a:rPr>
              <a:t>B</a:t>
            </a:r>
            <a:endParaRPr lang="it-IT" sz="4000" dirty="0">
              <a:solidFill>
                <a:schemeClr val="bg1"/>
              </a:solidFill>
            </a:endParaRPr>
          </a:p>
        </p:txBody>
      </p:sp>
      <p:sp>
        <p:nvSpPr>
          <p:cNvPr id="23" name="CasellaDiTesto 22"/>
          <p:cNvSpPr txBox="1"/>
          <p:nvPr/>
        </p:nvSpPr>
        <p:spPr>
          <a:xfrm>
            <a:off x="501600" y="2183931"/>
            <a:ext cx="7464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4400" dirty="0" smtClean="0">
                <a:solidFill>
                  <a:schemeClr val="bg1"/>
                </a:solidFill>
              </a:rPr>
              <a:t>A</a:t>
            </a:r>
            <a:endParaRPr lang="it-IT" sz="4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8588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6" name="Immagine 205" descr="img16.jp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324600"/>
          </a:xfrm>
          <a:prstGeom prst="rect">
            <a:avLst/>
          </a:prstGeom>
        </p:spPr>
      </p:pic>
      <p:sp>
        <p:nvSpPr>
          <p:cNvPr id="8" name="Rectangle: Top Corners Rounded 7">
            <a:extLst>
              <a:ext uri="{FF2B5EF4-FFF2-40B4-BE49-F238E27FC236}">
                <a16:creationId xmlns="" xmlns:a16="http://schemas.microsoft.com/office/drawing/2014/main" id="{C3CCFE02-603F-44D7-94E9-B80E4CF6299A}"/>
              </a:ext>
            </a:extLst>
          </p:cNvPr>
          <p:cNvSpPr/>
          <p:nvPr/>
        </p:nvSpPr>
        <p:spPr bwMode="auto">
          <a:xfrm>
            <a:off x="604839" y="2349000"/>
            <a:ext cx="2026080" cy="3212361"/>
          </a:xfrm>
          <a:prstGeom prst="round2SameRect">
            <a:avLst>
              <a:gd name="adj1" fmla="val 6512"/>
              <a:gd name="adj2" fmla="val 0"/>
            </a:avLst>
          </a:prstGeom>
          <a:solidFill>
            <a:srgbClr val="5B6592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" name="Freeform 5">
            <a:extLst>
              <a:ext uri="{FF2B5EF4-FFF2-40B4-BE49-F238E27FC236}">
                <a16:creationId xmlns="" xmlns:a16="http://schemas.microsoft.com/office/drawing/2014/main" id="{EC9C27F6-1D5B-4F2B-AB4F-FD800E93316D}"/>
              </a:ext>
            </a:extLst>
          </p:cNvPr>
          <p:cNvSpPr>
            <a:spLocks/>
          </p:cNvSpPr>
          <p:nvPr/>
        </p:nvSpPr>
        <p:spPr bwMode="auto">
          <a:xfrm>
            <a:off x="528205" y="4594482"/>
            <a:ext cx="297574" cy="981807"/>
          </a:xfrm>
          <a:custGeom>
            <a:avLst/>
            <a:gdLst>
              <a:gd name="T0" fmla="*/ 0 w 248"/>
              <a:gd name="T1" fmla="*/ 200 h 900"/>
              <a:gd name="T2" fmla="*/ 0 w 248"/>
              <a:gd name="T3" fmla="*/ 900 h 900"/>
              <a:gd name="T4" fmla="*/ 248 w 248"/>
              <a:gd name="T5" fmla="*/ 900 h 900"/>
              <a:gd name="T6" fmla="*/ 248 w 248"/>
              <a:gd name="T7" fmla="*/ 0 h 900"/>
              <a:gd name="T8" fmla="*/ 200 w 248"/>
              <a:gd name="T9" fmla="*/ 0 h 900"/>
              <a:gd name="T10" fmla="*/ 0 w 248"/>
              <a:gd name="T11" fmla="*/ 200 h 9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48" h="900">
                <a:moveTo>
                  <a:pt x="0" y="200"/>
                </a:moveTo>
                <a:cubicBezTo>
                  <a:pt x="0" y="900"/>
                  <a:pt x="0" y="900"/>
                  <a:pt x="0" y="900"/>
                </a:cubicBezTo>
                <a:cubicBezTo>
                  <a:pt x="248" y="900"/>
                  <a:pt x="248" y="900"/>
                  <a:pt x="248" y="900"/>
                </a:cubicBezTo>
                <a:cubicBezTo>
                  <a:pt x="248" y="0"/>
                  <a:pt x="248" y="0"/>
                  <a:pt x="248" y="0"/>
                </a:cubicBezTo>
                <a:cubicBezTo>
                  <a:pt x="200" y="0"/>
                  <a:pt x="200" y="0"/>
                  <a:pt x="200" y="0"/>
                </a:cubicBezTo>
                <a:cubicBezTo>
                  <a:pt x="90" y="0"/>
                  <a:pt x="0" y="89"/>
                  <a:pt x="0" y="200"/>
                </a:cubicBezTo>
                <a:close/>
              </a:path>
            </a:pathLst>
          </a:custGeom>
          <a:solidFill>
            <a:srgbClr val="2E427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" name="Freeform 6">
            <a:extLst>
              <a:ext uri="{FF2B5EF4-FFF2-40B4-BE49-F238E27FC236}">
                <a16:creationId xmlns="" xmlns:a16="http://schemas.microsoft.com/office/drawing/2014/main" id="{323B6925-521B-4CE8-B1F9-1CAA390BD5B9}"/>
              </a:ext>
            </a:extLst>
          </p:cNvPr>
          <p:cNvSpPr>
            <a:spLocks/>
          </p:cNvSpPr>
          <p:nvPr/>
        </p:nvSpPr>
        <p:spPr bwMode="auto">
          <a:xfrm>
            <a:off x="5735746" y="4594482"/>
            <a:ext cx="296783" cy="981807"/>
          </a:xfrm>
          <a:custGeom>
            <a:avLst/>
            <a:gdLst>
              <a:gd name="T0" fmla="*/ 48 w 248"/>
              <a:gd name="T1" fmla="*/ 0 h 900"/>
              <a:gd name="T2" fmla="*/ 0 w 248"/>
              <a:gd name="T3" fmla="*/ 0 h 900"/>
              <a:gd name="T4" fmla="*/ 0 w 248"/>
              <a:gd name="T5" fmla="*/ 900 h 900"/>
              <a:gd name="T6" fmla="*/ 248 w 248"/>
              <a:gd name="T7" fmla="*/ 900 h 900"/>
              <a:gd name="T8" fmla="*/ 248 w 248"/>
              <a:gd name="T9" fmla="*/ 200 h 900"/>
              <a:gd name="T10" fmla="*/ 48 w 248"/>
              <a:gd name="T11" fmla="*/ 0 h 9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48" h="900">
                <a:moveTo>
                  <a:pt x="48" y="0"/>
                </a:moveTo>
                <a:cubicBezTo>
                  <a:pt x="0" y="0"/>
                  <a:pt x="0" y="0"/>
                  <a:pt x="0" y="0"/>
                </a:cubicBezTo>
                <a:cubicBezTo>
                  <a:pt x="0" y="900"/>
                  <a:pt x="0" y="900"/>
                  <a:pt x="0" y="900"/>
                </a:cubicBezTo>
                <a:cubicBezTo>
                  <a:pt x="248" y="900"/>
                  <a:pt x="248" y="900"/>
                  <a:pt x="248" y="900"/>
                </a:cubicBezTo>
                <a:cubicBezTo>
                  <a:pt x="248" y="200"/>
                  <a:pt x="248" y="200"/>
                  <a:pt x="248" y="200"/>
                </a:cubicBezTo>
                <a:cubicBezTo>
                  <a:pt x="248" y="89"/>
                  <a:pt x="158" y="0"/>
                  <a:pt x="48" y="0"/>
                </a:cubicBezTo>
                <a:close/>
              </a:path>
            </a:pathLst>
          </a:custGeom>
          <a:solidFill>
            <a:srgbClr val="2E427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1" name="Freeform 7">
            <a:extLst>
              <a:ext uri="{FF2B5EF4-FFF2-40B4-BE49-F238E27FC236}">
                <a16:creationId xmlns="" xmlns:a16="http://schemas.microsoft.com/office/drawing/2014/main" id="{7C684447-6C59-461E-A4DE-B22E6B2AC7A4}"/>
              </a:ext>
            </a:extLst>
          </p:cNvPr>
          <p:cNvSpPr>
            <a:spLocks/>
          </p:cNvSpPr>
          <p:nvPr/>
        </p:nvSpPr>
        <p:spPr bwMode="auto">
          <a:xfrm>
            <a:off x="1056082" y="4380765"/>
            <a:ext cx="292825" cy="1195524"/>
          </a:xfrm>
          <a:custGeom>
            <a:avLst/>
            <a:gdLst>
              <a:gd name="T0" fmla="*/ 211 w 244"/>
              <a:gd name="T1" fmla="*/ 0 h 1096"/>
              <a:gd name="T2" fmla="*/ 34 w 244"/>
              <a:gd name="T3" fmla="*/ 0 h 1096"/>
              <a:gd name="T4" fmla="*/ 0 w 244"/>
              <a:gd name="T5" fmla="*/ 33 h 1096"/>
              <a:gd name="T6" fmla="*/ 0 w 244"/>
              <a:gd name="T7" fmla="*/ 1096 h 1096"/>
              <a:gd name="T8" fmla="*/ 244 w 244"/>
              <a:gd name="T9" fmla="*/ 1096 h 1096"/>
              <a:gd name="T10" fmla="*/ 244 w 244"/>
              <a:gd name="T11" fmla="*/ 33 h 1096"/>
              <a:gd name="T12" fmla="*/ 211 w 244"/>
              <a:gd name="T13" fmla="*/ 0 h 10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44" h="1096">
                <a:moveTo>
                  <a:pt x="211" y="0"/>
                </a:moveTo>
                <a:cubicBezTo>
                  <a:pt x="34" y="0"/>
                  <a:pt x="34" y="0"/>
                  <a:pt x="34" y="0"/>
                </a:cubicBezTo>
                <a:cubicBezTo>
                  <a:pt x="15" y="0"/>
                  <a:pt x="0" y="15"/>
                  <a:pt x="0" y="33"/>
                </a:cubicBezTo>
                <a:cubicBezTo>
                  <a:pt x="0" y="1096"/>
                  <a:pt x="0" y="1096"/>
                  <a:pt x="0" y="1096"/>
                </a:cubicBezTo>
                <a:cubicBezTo>
                  <a:pt x="244" y="1096"/>
                  <a:pt x="244" y="1096"/>
                  <a:pt x="244" y="1096"/>
                </a:cubicBezTo>
                <a:cubicBezTo>
                  <a:pt x="244" y="33"/>
                  <a:pt x="244" y="33"/>
                  <a:pt x="244" y="33"/>
                </a:cubicBezTo>
                <a:cubicBezTo>
                  <a:pt x="244" y="15"/>
                  <a:pt x="229" y="0"/>
                  <a:pt x="211" y="0"/>
                </a:cubicBezTo>
                <a:close/>
              </a:path>
            </a:pathLst>
          </a:custGeom>
          <a:solidFill>
            <a:srgbClr val="2E427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Freeform 8">
            <a:extLst>
              <a:ext uri="{FF2B5EF4-FFF2-40B4-BE49-F238E27FC236}">
                <a16:creationId xmlns="" xmlns:a16="http://schemas.microsoft.com/office/drawing/2014/main" id="{3B8DF446-D028-4C3A-A311-0C027464C394}"/>
              </a:ext>
            </a:extLst>
          </p:cNvPr>
          <p:cNvSpPr>
            <a:spLocks/>
          </p:cNvSpPr>
          <p:nvPr/>
        </p:nvSpPr>
        <p:spPr bwMode="auto">
          <a:xfrm>
            <a:off x="4152116" y="4380765"/>
            <a:ext cx="292825" cy="1195524"/>
          </a:xfrm>
          <a:custGeom>
            <a:avLst/>
            <a:gdLst>
              <a:gd name="T0" fmla="*/ 210 w 244"/>
              <a:gd name="T1" fmla="*/ 0 h 1096"/>
              <a:gd name="T2" fmla="*/ 33 w 244"/>
              <a:gd name="T3" fmla="*/ 0 h 1096"/>
              <a:gd name="T4" fmla="*/ 0 w 244"/>
              <a:gd name="T5" fmla="*/ 33 h 1096"/>
              <a:gd name="T6" fmla="*/ 0 w 244"/>
              <a:gd name="T7" fmla="*/ 1096 h 1096"/>
              <a:gd name="T8" fmla="*/ 244 w 244"/>
              <a:gd name="T9" fmla="*/ 1096 h 1096"/>
              <a:gd name="T10" fmla="*/ 244 w 244"/>
              <a:gd name="T11" fmla="*/ 33 h 1096"/>
              <a:gd name="T12" fmla="*/ 210 w 244"/>
              <a:gd name="T13" fmla="*/ 0 h 10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44" h="1096">
                <a:moveTo>
                  <a:pt x="210" y="0"/>
                </a:moveTo>
                <a:cubicBezTo>
                  <a:pt x="33" y="0"/>
                  <a:pt x="33" y="0"/>
                  <a:pt x="33" y="0"/>
                </a:cubicBezTo>
                <a:cubicBezTo>
                  <a:pt x="15" y="0"/>
                  <a:pt x="0" y="15"/>
                  <a:pt x="0" y="33"/>
                </a:cubicBezTo>
                <a:cubicBezTo>
                  <a:pt x="0" y="1096"/>
                  <a:pt x="0" y="1096"/>
                  <a:pt x="0" y="1096"/>
                </a:cubicBezTo>
                <a:cubicBezTo>
                  <a:pt x="244" y="1096"/>
                  <a:pt x="244" y="1096"/>
                  <a:pt x="244" y="1096"/>
                </a:cubicBezTo>
                <a:cubicBezTo>
                  <a:pt x="244" y="33"/>
                  <a:pt x="244" y="33"/>
                  <a:pt x="244" y="33"/>
                </a:cubicBezTo>
                <a:cubicBezTo>
                  <a:pt x="244" y="15"/>
                  <a:pt x="229" y="0"/>
                  <a:pt x="210" y="0"/>
                </a:cubicBezTo>
                <a:close/>
              </a:path>
            </a:pathLst>
          </a:custGeom>
          <a:solidFill>
            <a:srgbClr val="2E427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3" name="Freeform 9">
            <a:extLst>
              <a:ext uri="{FF2B5EF4-FFF2-40B4-BE49-F238E27FC236}">
                <a16:creationId xmlns="" xmlns:a16="http://schemas.microsoft.com/office/drawing/2014/main" id="{22324622-28E1-432D-A564-8ED895C33546}"/>
              </a:ext>
            </a:extLst>
          </p:cNvPr>
          <p:cNvSpPr>
            <a:spLocks/>
          </p:cNvSpPr>
          <p:nvPr/>
        </p:nvSpPr>
        <p:spPr bwMode="auto">
          <a:xfrm>
            <a:off x="3484158" y="5107260"/>
            <a:ext cx="633136" cy="469030"/>
          </a:xfrm>
          <a:custGeom>
            <a:avLst/>
            <a:gdLst>
              <a:gd name="T0" fmla="*/ 479 w 528"/>
              <a:gd name="T1" fmla="*/ 0 h 430"/>
              <a:gd name="T2" fmla="*/ 50 w 528"/>
              <a:gd name="T3" fmla="*/ 0 h 430"/>
              <a:gd name="T4" fmla="*/ 0 w 528"/>
              <a:gd name="T5" fmla="*/ 49 h 430"/>
              <a:gd name="T6" fmla="*/ 0 w 528"/>
              <a:gd name="T7" fmla="*/ 430 h 430"/>
              <a:gd name="T8" fmla="*/ 528 w 528"/>
              <a:gd name="T9" fmla="*/ 430 h 430"/>
              <a:gd name="T10" fmla="*/ 528 w 528"/>
              <a:gd name="T11" fmla="*/ 49 h 430"/>
              <a:gd name="T12" fmla="*/ 479 w 528"/>
              <a:gd name="T13" fmla="*/ 0 h 4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28" h="430">
                <a:moveTo>
                  <a:pt x="479" y="0"/>
                </a:moveTo>
                <a:cubicBezTo>
                  <a:pt x="50" y="0"/>
                  <a:pt x="50" y="0"/>
                  <a:pt x="50" y="0"/>
                </a:cubicBezTo>
                <a:cubicBezTo>
                  <a:pt x="23" y="0"/>
                  <a:pt x="0" y="22"/>
                  <a:pt x="0" y="49"/>
                </a:cubicBezTo>
                <a:cubicBezTo>
                  <a:pt x="0" y="430"/>
                  <a:pt x="0" y="430"/>
                  <a:pt x="0" y="430"/>
                </a:cubicBezTo>
                <a:cubicBezTo>
                  <a:pt x="528" y="430"/>
                  <a:pt x="528" y="430"/>
                  <a:pt x="528" y="430"/>
                </a:cubicBezTo>
                <a:cubicBezTo>
                  <a:pt x="528" y="49"/>
                  <a:pt x="528" y="49"/>
                  <a:pt x="528" y="49"/>
                </a:cubicBezTo>
                <a:cubicBezTo>
                  <a:pt x="528" y="22"/>
                  <a:pt x="506" y="0"/>
                  <a:pt x="479" y="0"/>
                </a:cubicBezTo>
                <a:close/>
              </a:path>
            </a:pathLst>
          </a:custGeom>
          <a:solidFill>
            <a:srgbClr val="2E427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4" name="Freeform 10">
            <a:extLst>
              <a:ext uri="{FF2B5EF4-FFF2-40B4-BE49-F238E27FC236}">
                <a16:creationId xmlns="" xmlns:a16="http://schemas.microsoft.com/office/drawing/2014/main" id="{BC8ACC91-9236-4A49-B619-FFBE02516629}"/>
              </a:ext>
            </a:extLst>
          </p:cNvPr>
          <p:cNvSpPr>
            <a:spLocks/>
          </p:cNvSpPr>
          <p:nvPr/>
        </p:nvSpPr>
        <p:spPr bwMode="auto">
          <a:xfrm>
            <a:off x="-42409" y="4872028"/>
            <a:ext cx="388587" cy="704262"/>
          </a:xfrm>
          <a:custGeom>
            <a:avLst/>
            <a:gdLst>
              <a:gd name="T0" fmla="*/ 275 w 324"/>
              <a:gd name="T1" fmla="*/ 0 h 646"/>
              <a:gd name="T2" fmla="*/ 49 w 324"/>
              <a:gd name="T3" fmla="*/ 0 h 646"/>
              <a:gd name="T4" fmla="*/ 0 w 324"/>
              <a:gd name="T5" fmla="*/ 49 h 646"/>
              <a:gd name="T6" fmla="*/ 0 w 324"/>
              <a:gd name="T7" fmla="*/ 646 h 646"/>
              <a:gd name="T8" fmla="*/ 324 w 324"/>
              <a:gd name="T9" fmla="*/ 646 h 646"/>
              <a:gd name="T10" fmla="*/ 324 w 324"/>
              <a:gd name="T11" fmla="*/ 49 h 646"/>
              <a:gd name="T12" fmla="*/ 275 w 324"/>
              <a:gd name="T13" fmla="*/ 0 h 6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24" h="646">
                <a:moveTo>
                  <a:pt x="275" y="0"/>
                </a:moveTo>
                <a:cubicBezTo>
                  <a:pt x="49" y="0"/>
                  <a:pt x="49" y="0"/>
                  <a:pt x="49" y="0"/>
                </a:cubicBezTo>
                <a:cubicBezTo>
                  <a:pt x="22" y="0"/>
                  <a:pt x="0" y="22"/>
                  <a:pt x="0" y="49"/>
                </a:cubicBezTo>
                <a:cubicBezTo>
                  <a:pt x="0" y="646"/>
                  <a:pt x="0" y="646"/>
                  <a:pt x="0" y="646"/>
                </a:cubicBezTo>
                <a:cubicBezTo>
                  <a:pt x="324" y="646"/>
                  <a:pt x="324" y="646"/>
                  <a:pt x="324" y="646"/>
                </a:cubicBezTo>
                <a:cubicBezTo>
                  <a:pt x="324" y="49"/>
                  <a:pt x="324" y="49"/>
                  <a:pt x="324" y="49"/>
                </a:cubicBezTo>
                <a:cubicBezTo>
                  <a:pt x="324" y="22"/>
                  <a:pt x="302" y="0"/>
                  <a:pt x="275" y="0"/>
                </a:cubicBezTo>
                <a:close/>
              </a:path>
            </a:pathLst>
          </a:custGeom>
          <a:solidFill>
            <a:srgbClr val="2E427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="" xmlns:a16="http://schemas.microsoft.com/office/drawing/2014/main" id="{C9A3AB0B-4F11-45F2-93A3-E4A484C88687}"/>
              </a:ext>
            </a:extLst>
          </p:cNvPr>
          <p:cNvGrpSpPr/>
          <p:nvPr/>
        </p:nvGrpSpPr>
        <p:grpSpPr>
          <a:xfrm>
            <a:off x="1894195" y="4405866"/>
            <a:ext cx="194689" cy="1171858"/>
            <a:chOff x="-10262858" y="2528891"/>
            <a:chExt cx="390526" cy="2593980"/>
          </a:xfrm>
          <a:solidFill>
            <a:srgbClr val="000000">
              <a:alpha val="10196"/>
            </a:srgbClr>
          </a:solidFill>
        </p:grpSpPr>
        <p:sp>
          <p:nvSpPr>
            <p:cNvPr id="16" name="Freeform 11">
              <a:extLst>
                <a:ext uri="{FF2B5EF4-FFF2-40B4-BE49-F238E27FC236}">
                  <a16:creationId xmlns="" xmlns:a16="http://schemas.microsoft.com/office/drawing/2014/main" id="{BA2C20AF-F90C-4289-8D83-A2900DAC6B7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262858" y="2528891"/>
              <a:ext cx="390526" cy="119063"/>
            </a:xfrm>
            <a:custGeom>
              <a:avLst/>
              <a:gdLst>
                <a:gd name="T0" fmla="*/ 138 w 162"/>
                <a:gd name="T1" fmla="*/ 0 h 49"/>
                <a:gd name="T2" fmla="*/ 25 w 162"/>
                <a:gd name="T3" fmla="*/ 0 h 49"/>
                <a:gd name="T4" fmla="*/ 0 w 162"/>
                <a:gd name="T5" fmla="*/ 25 h 49"/>
                <a:gd name="T6" fmla="*/ 0 w 162"/>
                <a:gd name="T7" fmla="*/ 49 h 49"/>
                <a:gd name="T8" fmla="*/ 162 w 162"/>
                <a:gd name="T9" fmla="*/ 49 h 49"/>
                <a:gd name="T10" fmla="*/ 162 w 162"/>
                <a:gd name="T11" fmla="*/ 25 h 49"/>
                <a:gd name="T12" fmla="*/ 138 w 162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49">
                  <a:moveTo>
                    <a:pt x="138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162" y="49"/>
                    <a:pt x="162" y="49"/>
                    <a:pt x="162" y="49"/>
                  </a:cubicBezTo>
                  <a:cubicBezTo>
                    <a:pt x="162" y="25"/>
                    <a:pt x="162" y="25"/>
                    <a:pt x="162" y="25"/>
                  </a:cubicBezTo>
                  <a:cubicBezTo>
                    <a:pt x="162" y="11"/>
                    <a:pt x="151" y="0"/>
                    <a:pt x="13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7" name="Freeform 12">
              <a:extLst>
                <a:ext uri="{FF2B5EF4-FFF2-40B4-BE49-F238E27FC236}">
                  <a16:creationId xmlns="" xmlns:a16="http://schemas.microsoft.com/office/drawing/2014/main" id="{C537002A-103D-4173-92D1-A18A3ABAC0F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262858" y="2708279"/>
              <a:ext cx="390526" cy="117475"/>
            </a:xfrm>
            <a:custGeom>
              <a:avLst/>
              <a:gdLst>
                <a:gd name="T0" fmla="*/ 138 w 162"/>
                <a:gd name="T1" fmla="*/ 0 h 49"/>
                <a:gd name="T2" fmla="*/ 25 w 162"/>
                <a:gd name="T3" fmla="*/ 0 h 49"/>
                <a:gd name="T4" fmla="*/ 0 w 162"/>
                <a:gd name="T5" fmla="*/ 24 h 49"/>
                <a:gd name="T6" fmla="*/ 0 w 162"/>
                <a:gd name="T7" fmla="*/ 49 h 49"/>
                <a:gd name="T8" fmla="*/ 162 w 162"/>
                <a:gd name="T9" fmla="*/ 49 h 49"/>
                <a:gd name="T10" fmla="*/ 162 w 162"/>
                <a:gd name="T11" fmla="*/ 24 h 49"/>
                <a:gd name="T12" fmla="*/ 138 w 162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49">
                  <a:moveTo>
                    <a:pt x="138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162" y="49"/>
                    <a:pt x="162" y="49"/>
                    <a:pt x="162" y="49"/>
                  </a:cubicBezTo>
                  <a:cubicBezTo>
                    <a:pt x="162" y="24"/>
                    <a:pt x="162" y="24"/>
                    <a:pt x="162" y="24"/>
                  </a:cubicBezTo>
                  <a:cubicBezTo>
                    <a:pt x="162" y="11"/>
                    <a:pt x="151" y="0"/>
                    <a:pt x="13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8" name="Freeform 13">
              <a:extLst>
                <a:ext uri="{FF2B5EF4-FFF2-40B4-BE49-F238E27FC236}">
                  <a16:creationId xmlns="" xmlns:a16="http://schemas.microsoft.com/office/drawing/2014/main" id="{D49026ED-1983-468A-8227-A6A1A73FF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262858" y="2884492"/>
              <a:ext cx="390526" cy="117475"/>
            </a:xfrm>
            <a:custGeom>
              <a:avLst/>
              <a:gdLst>
                <a:gd name="T0" fmla="*/ 138 w 162"/>
                <a:gd name="T1" fmla="*/ 0 h 49"/>
                <a:gd name="T2" fmla="*/ 25 w 162"/>
                <a:gd name="T3" fmla="*/ 0 h 49"/>
                <a:gd name="T4" fmla="*/ 0 w 162"/>
                <a:gd name="T5" fmla="*/ 24 h 49"/>
                <a:gd name="T6" fmla="*/ 0 w 162"/>
                <a:gd name="T7" fmla="*/ 49 h 49"/>
                <a:gd name="T8" fmla="*/ 162 w 162"/>
                <a:gd name="T9" fmla="*/ 49 h 49"/>
                <a:gd name="T10" fmla="*/ 162 w 162"/>
                <a:gd name="T11" fmla="*/ 24 h 49"/>
                <a:gd name="T12" fmla="*/ 138 w 162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49">
                  <a:moveTo>
                    <a:pt x="138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162" y="49"/>
                    <a:pt x="162" y="49"/>
                    <a:pt x="162" y="49"/>
                  </a:cubicBezTo>
                  <a:cubicBezTo>
                    <a:pt x="162" y="24"/>
                    <a:pt x="162" y="24"/>
                    <a:pt x="162" y="24"/>
                  </a:cubicBezTo>
                  <a:cubicBezTo>
                    <a:pt x="162" y="11"/>
                    <a:pt x="151" y="0"/>
                    <a:pt x="13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9" name="Freeform 14">
              <a:extLst>
                <a:ext uri="{FF2B5EF4-FFF2-40B4-BE49-F238E27FC236}">
                  <a16:creationId xmlns="" xmlns:a16="http://schemas.microsoft.com/office/drawing/2014/main" id="{096E16B0-5AD8-4799-82CE-ABBA89BBEA1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262858" y="3060704"/>
              <a:ext cx="390526" cy="117475"/>
            </a:xfrm>
            <a:custGeom>
              <a:avLst/>
              <a:gdLst>
                <a:gd name="T0" fmla="*/ 138 w 162"/>
                <a:gd name="T1" fmla="*/ 0 h 49"/>
                <a:gd name="T2" fmla="*/ 25 w 162"/>
                <a:gd name="T3" fmla="*/ 0 h 49"/>
                <a:gd name="T4" fmla="*/ 0 w 162"/>
                <a:gd name="T5" fmla="*/ 24 h 49"/>
                <a:gd name="T6" fmla="*/ 0 w 162"/>
                <a:gd name="T7" fmla="*/ 49 h 49"/>
                <a:gd name="T8" fmla="*/ 162 w 162"/>
                <a:gd name="T9" fmla="*/ 49 h 49"/>
                <a:gd name="T10" fmla="*/ 162 w 162"/>
                <a:gd name="T11" fmla="*/ 25 h 49"/>
                <a:gd name="T12" fmla="*/ 138 w 162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49">
                  <a:moveTo>
                    <a:pt x="138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162" y="49"/>
                    <a:pt x="162" y="49"/>
                    <a:pt x="162" y="49"/>
                  </a:cubicBezTo>
                  <a:cubicBezTo>
                    <a:pt x="162" y="25"/>
                    <a:pt x="162" y="25"/>
                    <a:pt x="162" y="25"/>
                  </a:cubicBezTo>
                  <a:cubicBezTo>
                    <a:pt x="162" y="11"/>
                    <a:pt x="151" y="0"/>
                    <a:pt x="13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0" name="Freeform 15">
              <a:extLst>
                <a:ext uri="{FF2B5EF4-FFF2-40B4-BE49-F238E27FC236}">
                  <a16:creationId xmlns="" xmlns:a16="http://schemas.microsoft.com/office/drawing/2014/main" id="{F12CF379-08E7-4648-9AA9-AE512A175B1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262858" y="3236917"/>
              <a:ext cx="390526" cy="117475"/>
            </a:xfrm>
            <a:custGeom>
              <a:avLst/>
              <a:gdLst>
                <a:gd name="T0" fmla="*/ 138 w 162"/>
                <a:gd name="T1" fmla="*/ 0 h 49"/>
                <a:gd name="T2" fmla="*/ 25 w 162"/>
                <a:gd name="T3" fmla="*/ 0 h 49"/>
                <a:gd name="T4" fmla="*/ 0 w 162"/>
                <a:gd name="T5" fmla="*/ 25 h 49"/>
                <a:gd name="T6" fmla="*/ 0 w 162"/>
                <a:gd name="T7" fmla="*/ 49 h 49"/>
                <a:gd name="T8" fmla="*/ 162 w 162"/>
                <a:gd name="T9" fmla="*/ 49 h 49"/>
                <a:gd name="T10" fmla="*/ 162 w 162"/>
                <a:gd name="T11" fmla="*/ 25 h 49"/>
                <a:gd name="T12" fmla="*/ 138 w 162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49">
                  <a:moveTo>
                    <a:pt x="138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162" y="49"/>
                    <a:pt x="162" y="49"/>
                    <a:pt x="162" y="49"/>
                  </a:cubicBezTo>
                  <a:cubicBezTo>
                    <a:pt x="162" y="25"/>
                    <a:pt x="162" y="25"/>
                    <a:pt x="162" y="25"/>
                  </a:cubicBezTo>
                  <a:cubicBezTo>
                    <a:pt x="162" y="11"/>
                    <a:pt x="151" y="0"/>
                    <a:pt x="13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1" name="Freeform 16">
              <a:extLst>
                <a:ext uri="{FF2B5EF4-FFF2-40B4-BE49-F238E27FC236}">
                  <a16:creationId xmlns="" xmlns:a16="http://schemas.microsoft.com/office/drawing/2014/main" id="{BE5646D8-121E-4A98-BD18-C3AEB048E45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262858" y="3413130"/>
              <a:ext cx="390526" cy="119063"/>
            </a:xfrm>
            <a:custGeom>
              <a:avLst/>
              <a:gdLst>
                <a:gd name="T0" fmla="*/ 138 w 162"/>
                <a:gd name="T1" fmla="*/ 0 h 49"/>
                <a:gd name="T2" fmla="*/ 25 w 162"/>
                <a:gd name="T3" fmla="*/ 0 h 49"/>
                <a:gd name="T4" fmla="*/ 0 w 162"/>
                <a:gd name="T5" fmla="*/ 25 h 49"/>
                <a:gd name="T6" fmla="*/ 0 w 162"/>
                <a:gd name="T7" fmla="*/ 49 h 49"/>
                <a:gd name="T8" fmla="*/ 162 w 162"/>
                <a:gd name="T9" fmla="*/ 49 h 49"/>
                <a:gd name="T10" fmla="*/ 162 w 162"/>
                <a:gd name="T11" fmla="*/ 25 h 49"/>
                <a:gd name="T12" fmla="*/ 138 w 162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49">
                  <a:moveTo>
                    <a:pt x="138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162" y="49"/>
                    <a:pt x="162" y="49"/>
                    <a:pt x="162" y="49"/>
                  </a:cubicBezTo>
                  <a:cubicBezTo>
                    <a:pt x="162" y="25"/>
                    <a:pt x="162" y="25"/>
                    <a:pt x="162" y="25"/>
                  </a:cubicBezTo>
                  <a:cubicBezTo>
                    <a:pt x="162" y="11"/>
                    <a:pt x="151" y="0"/>
                    <a:pt x="13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2" name="Freeform 17">
              <a:extLst>
                <a:ext uri="{FF2B5EF4-FFF2-40B4-BE49-F238E27FC236}">
                  <a16:creationId xmlns="" xmlns:a16="http://schemas.microsoft.com/office/drawing/2014/main" id="{45AC0682-2F3D-43C5-9285-99F6C25745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262858" y="3589343"/>
              <a:ext cx="390526" cy="119063"/>
            </a:xfrm>
            <a:custGeom>
              <a:avLst/>
              <a:gdLst>
                <a:gd name="T0" fmla="*/ 138 w 162"/>
                <a:gd name="T1" fmla="*/ 0 h 49"/>
                <a:gd name="T2" fmla="*/ 25 w 162"/>
                <a:gd name="T3" fmla="*/ 0 h 49"/>
                <a:gd name="T4" fmla="*/ 0 w 162"/>
                <a:gd name="T5" fmla="*/ 25 h 49"/>
                <a:gd name="T6" fmla="*/ 0 w 162"/>
                <a:gd name="T7" fmla="*/ 49 h 49"/>
                <a:gd name="T8" fmla="*/ 162 w 162"/>
                <a:gd name="T9" fmla="*/ 49 h 49"/>
                <a:gd name="T10" fmla="*/ 162 w 162"/>
                <a:gd name="T11" fmla="*/ 25 h 49"/>
                <a:gd name="T12" fmla="*/ 138 w 162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49">
                  <a:moveTo>
                    <a:pt x="138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162" y="49"/>
                    <a:pt x="162" y="49"/>
                    <a:pt x="162" y="49"/>
                  </a:cubicBezTo>
                  <a:cubicBezTo>
                    <a:pt x="162" y="25"/>
                    <a:pt x="162" y="25"/>
                    <a:pt x="162" y="25"/>
                  </a:cubicBezTo>
                  <a:cubicBezTo>
                    <a:pt x="162" y="11"/>
                    <a:pt x="151" y="0"/>
                    <a:pt x="13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3" name="Freeform 18">
              <a:extLst>
                <a:ext uri="{FF2B5EF4-FFF2-40B4-BE49-F238E27FC236}">
                  <a16:creationId xmlns="" xmlns:a16="http://schemas.microsoft.com/office/drawing/2014/main" id="{0E83BFC5-8B48-4DB7-B867-47B18CCD0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262858" y="3768731"/>
              <a:ext cx="390526" cy="117475"/>
            </a:xfrm>
            <a:custGeom>
              <a:avLst/>
              <a:gdLst>
                <a:gd name="T0" fmla="*/ 138 w 162"/>
                <a:gd name="T1" fmla="*/ 0 h 49"/>
                <a:gd name="T2" fmla="*/ 25 w 162"/>
                <a:gd name="T3" fmla="*/ 0 h 49"/>
                <a:gd name="T4" fmla="*/ 0 w 162"/>
                <a:gd name="T5" fmla="*/ 24 h 49"/>
                <a:gd name="T6" fmla="*/ 0 w 162"/>
                <a:gd name="T7" fmla="*/ 49 h 49"/>
                <a:gd name="T8" fmla="*/ 162 w 162"/>
                <a:gd name="T9" fmla="*/ 49 h 49"/>
                <a:gd name="T10" fmla="*/ 162 w 162"/>
                <a:gd name="T11" fmla="*/ 24 h 49"/>
                <a:gd name="T12" fmla="*/ 138 w 162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49">
                  <a:moveTo>
                    <a:pt x="138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162" y="49"/>
                    <a:pt x="162" y="49"/>
                    <a:pt x="162" y="49"/>
                  </a:cubicBezTo>
                  <a:cubicBezTo>
                    <a:pt x="162" y="24"/>
                    <a:pt x="162" y="24"/>
                    <a:pt x="162" y="24"/>
                  </a:cubicBezTo>
                  <a:cubicBezTo>
                    <a:pt x="162" y="11"/>
                    <a:pt x="151" y="0"/>
                    <a:pt x="13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4" name="Freeform 19">
              <a:extLst>
                <a:ext uri="{FF2B5EF4-FFF2-40B4-BE49-F238E27FC236}">
                  <a16:creationId xmlns="" xmlns:a16="http://schemas.microsoft.com/office/drawing/2014/main" id="{17DC29C2-C94F-4905-B983-A6EBF2FCD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262858" y="3944943"/>
              <a:ext cx="390526" cy="117475"/>
            </a:xfrm>
            <a:custGeom>
              <a:avLst/>
              <a:gdLst>
                <a:gd name="T0" fmla="*/ 138 w 162"/>
                <a:gd name="T1" fmla="*/ 0 h 49"/>
                <a:gd name="T2" fmla="*/ 25 w 162"/>
                <a:gd name="T3" fmla="*/ 0 h 49"/>
                <a:gd name="T4" fmla="*/ 0 w 162"/>
                <a:gd name="T5" fmla="*/ 24 h 49"/>
                <a:gd name="T6" fmla="*/ 0 w 162"/>
                <a:gd name="T7" fmla="*/ 49 h 49"/>
                <a:gd name="T8" fmla="*/ 162 w 162"/>
                <a:gd name="T9" fmla="*/ 49 h 49"/>
                <a:gd name="T10" fmla="*/ 162 w 162"/>
                <a:gd name="T11" fmla="*/ 24 h 49"/>
                <a:gd name="T12" fmla="*/ 138 w 162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49">
                  <a:moveTo>
                    <a:pt x="138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162" y="49"/>
                    <a:pt x="162" y="49"/>
                    <a:pt x="162" y="49"/>
                  </a:cubicBezTo>
                  <a:cubicBezTo>
                    <a:pt x="162" y="24"/>
                    <a:pt x="162" y="24"/>
                    <a:pt x="162" y="24"/>
                  </a:cubicBezTo>
                  <a:cubicBezTo>
                    <a:pt x="162" y="11"/>
                    <a:pt x="151" y="0"/>
                    <a:pt x="13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5" name="Freeform 20">
              <a:extLst>
                <a:ext uri="{FF2B5EF4-FFF2-40B4-BE49-F238E27FC236}">
                  <a16:creationId xmlns="" xmlns:a16="http://schemas.microsoft.com/office/drawing/2014/main" id="{125DB9C0-D21A-4E6D-AD44-FEBD0F41486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262858" y="4121156"/>
              <a:ext cx="390526" cy="117475"/>
            </a:xfrm>
            <a:custGeom>
              <a:avLst/>
              <a:gdLst>
                <a:gd name="T0" fmla="*/ 138 w 162"/>
                <a:gd name="T1" fmla="*/ 0 h 49"/>
                <a:gd name="T2" fmla="*/ 25 w 162"/>
                <a:gd name="T3" fmla="*/ 0 h 49"/>
                <a:gd name="T4" fmla="*/ 0 w 162"/>
                <a:gd name="T5" fmla="*/ 25 h 49"/>
                <a:gd name="T6" fmla="*/ 0 w 162"/>
                <a:gd name="T7" fmla="*/ 49 h 49"/>
                <a:gd name="T8" fmla="*/ 162 w 162"/>
                <a:gd name="T9" fmla="*/ 49 h 49"/>
                <a:gd name="T10" fmla="*/ 162 w 162"/>
                <a:gd name="T11" fmla="*/ 25 h 49"/>
                <a:gd name="T12" fmla="*/ 138 w 162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49">
                  <a:moveTo>
                    <a:pt x="138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162" y="49"/>
                    <a:pt x="162" y="49"/>
                    <a:pt x="162" y="49"/>
                  </a:cubicBezTo>
                  <a:cubicBezTo>
                    <a:pt x="162" y="25"/>
                    <a:pt x="162" y="25"/>
                    <a:pt x="162" y="25"/>
                  </a:cubicBezTo>
                  <a:cubicBezTo>
                    <a:pt x="162" y="11"/>
                    <a:pt x="151" y="0"/>
                    <a:pt x="13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6" name="Freeform 21">
              <a:extLst>
                <a:ext uri="{FF2B5EF4-FFF2-40B4-BE49-F238E27FC236}">
                  <a16:creationId xmlns="" xmlns:a16="http://schemas.microsoft.com/office/drawing/2014/main" id="{D799E268-CCEC-47BF-A719-6BE05B1A351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262858" y="4297369"/>
              <a:ext cx="390526" cy="117475"/>
            </a:xfrm>
            <a:custGeom>
              <a:avLst/>
              <a:gdLst>
                <a:gd name="T0" fmla="*/ 138 w 162"/>
                <a:gd name="T1" fmla="*/ 0 h 49"/>
                <a:gd name="T2" fmla="*/ 25 w 162"/>
                <a:gd name="T3" fmla="*/ 0 h 49"/>
                <a:gd name="T4" fmla="*/ 0 w 162"/>
                <a:gd name="T5" fmla="*/ 25 h 49"/>
                <a:gd name="T6" fmla="*/ 0 w 162"/>
                <a:gd name="T7" fmla="*/ 49 h 49"/>
                <a:gd name="T8" fmla="*/ 162 w 162"/>
                <a:gd name="T9" fmla="*/ 49 h 49"/>
                <a:gd name="T10" fmla="*/ 162 w 162"/>
                <a:gd name="T11" fmla="*/ 25 h 49"/>
                <a:gd name="T12" fmla="*/ 138 w 162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49">
                  <a:moveTo>
                    <a:pt x="138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162" y="49"/>
                    <a:pt x="162" y="49"/>
                    <a:pt x="162" y="49"/>
                  </a:cubicBezTo>
                  <a:cubicBezTo>
                    <a:pt x="162" y="25"/>
                    <a:pt x="162" y="25"/>
                    <a:pt x="162" y="25"/>
                  </a:cubicBezTo>
                  <a:cubicBezTo>
                    <a:pt x="162" y="11"/>
                    <a:pt x="151" y="0"/>
                    <a:pt x="13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7" name="Freeform 22">
              <a:extLst>
                <a:ext uri="{FF2B5EF4-FFF2-40B4-BE49-F238E27FC236}">
                  <a16:creationId xmlns="" xmlns:a16="http://schemas.microsoft.com/office/drawing/2014/main" id="{9A01E928-750E-4F93-B12A-A9473BBCA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262858" y="4473582"/>
              <a:ext cx="390526" cy="117475"/>
            </a:xfrm>
            <a:custGeom>
              <a:avLst/>
              <a:gdLst>
                <a:gd name="T0" fmla="*/ 138 w 162"/>
                <a:gd name="T1" fmla="*/ 0 h 49"/>
                <a:gd name="T2" fmla="*/ 25 w 162"/>
                <a:gd name="T3" fmla="*/ 0 h 49"/>
                <a:gd name="T4" fmla="*/ 0 w 162"/>
                <a:gd name="T5" fmla="*/ 25 h 49"/>
                <a:gd name="T6" fmla="*/ 0 w 162"/>
                <a:gd name="T7" fmla="*/ 49 h 49"/>
                <a:gd name="T8" fmla="*/ 162 w 162"/>
                <a:gd name="T9" fmla="*/ 49 h 49"/>
                <a:gd name="T10" fmla="*/ 162 w 162"/>
                <a:gd name="T11" fmla="*/ 25 h 49"/>
                <a:gd name="T12" fmla="*/ 138 w 162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49">
                  <a:moveTo>
                    <a:pt x="138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162" y="49"/>
                    <a:pt x="162" y="49"/>
                    <a:pt x="162" y="49"/>
                  </a:cubicBezTo>
                  <a:cubicBezTo>
                    <a:pt x="162" y="25"/>
                    <a:pt x="162" y="25"/>
                    <a:pt x="162" y="25"/>
                  </a:cubicBezTo>
                  <a:cubicBezTo>
                    <a:pt x="162" y="11"/>
                    <a:pt x="151" y="0"/>
                    <a:pt x="13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8" name="Freeform 23">
              <a:extLst>
                <a:ext uri="{FF2B5EF4-FFF2-40B4-BE49-F238E27FC236}">
                  <a16:creationId xmlns="" xmlns:a16="http://schemas.microsoft.com/office/drawing/2014/main" id="{0914BF4E-0A66-457C-92D8-1BF4EE506BA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262858" y="4651382"/>
              <a:ext cx="390526" cy="119063"/>
            </a:xfrm>
            <a:custGeom>
              <a:avLst/>
              <a:gdLst>
                <a:gd name="T0" fmla="*/ 138 w 162"/>
                <a:gd name="T1" fmla="*/ 0 h 49"/>
                <a:gd name="T2" fmla="*/ 25 w 162"/>
                <a:gd name="T3" fmla="*/ 0 h 49"/>
                <a:gd name="T4" fmla="*/ 0 w 162"/>
                <a:gd name="T5" fmla="*/ 24 h 49"/>
                <a:gd name="T6" fmla="*/ 0 w 162"/>
                <a:gd name="T7" fmla="*/ 49 h 49"/>
                <a:gd name="T8" fmla="*/ 162 w 162"/>
                <a:gd name="T9" fmla="*/ 49 h 49"/>
                <a:gd name="T10" fmla="*/ 162 w 162"/>
                <a:gd name="T11" fmla="*/ 24 h 49"/>
                <a:gd name="T12" fmla="*/ 138 w 162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49">
                  <a:moveTo>
                    <a:pt x="138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162" y="49"/>
                    <a:pt x="162" y="49"/>
                    <a:pt x="162" y="49"/>
                  </a:cubicBezTo>
                  <a:cubicBezTo>
                    <a:pt x="162" y="24"/>
                    <a:pt x="162" y="24"/>
                    <a:pt x="162" y="24"/>
                  </a:cubicBezTo>
                  <a:cubicBezTo>
                    <a:pt x="162" y="11"/>
                    <a:pt x="151" y="0"/>
                    <a:pt x="13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29" name="Freeform 24">
              <a:extLst>
                <a:ext uri="{FF2B5EF4-FFF2-40B4-BE49-F238E27FC236}">
                  <a16:creationId xmlns="" xmlns:a16="http://schemas.microsoft.com/office/drawing/2014/main" id="{554F0E22-F4C7-49D4-83B2-09C4E0DB5A00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262858" y="4827595"/>
              <a:ext cx="390526" cy="119063"/>
            </a:xfrm>
            <a:custGeom>
              <a:avLst/>
              <a:gdLst>
                <a:gd name="T0" fmla="*/ 138 w 162"/>
                <a:gd name="T1" fmla="*/ 0 h 49"/>
                <a:gd name="T2" fmla="*/ 25 w 162"/>
                <a:gd name="T3" fmla="*/ 0 h 49"/>
                <a:gd name="T4" fmla="*/ 0 w 162"/>
                <a:gd name="T5" fmla="*/ 24 h 49"/>
                <a:gd name="T6" fmla="*/ 0 w 162"/>
                <a:gd name="T7" fmla="*/ 49 h 49"/>
                <a:gd name="T8" fmla="*/ 162 w 162"/>
                <a:gd name="T9" fmla="*/ 49 h 49"/>
                <a:gd name="T10" fmla="*/ 162 w 162"/>
                <a:gd name="T11" fmla="*/ 24 h 49"/>
                <a:gd name="T12" fmla="*/ 138 w 162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49">
                  <a:moveTo>
                    <a:pt x="138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162" y="49"/>
                    <a:pt x="162" y="49"/>
                    <a:pt x="162" y="49"/>
                  </a:cubicBezTo>
                  <a:cubicBezTo>
                    <a:pt x="162" y="24"/>
                    <a:pt x="162" y="24"/>
                    <a:pt x="162" y="24"/>
                  </a:cubicBezTo>
                  <a:cubicBezTo>
                    <a:pt x="162" y="11"/>
                    <a:pt x="151" y="0"/>
                    <a:pt x="13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30" name="Freeform 25">
              <a:extLst>
                <a:ext uri="{FF2B5EF4-FFF2-40B4-BE49-F238E27FC236}">
                  <a16:creationId xmlns="" xmlns:a16="http://schemas.microsoft.com/office/drawing/2014/main" id="{1390B0A4-BF0A-4AA7-AC4B-1D658B0E194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262858" y="5003808"/>
              <a:ext cx="390526" cy="119063"/>
            </a:xfrm>
            <a:custGeom>
              <a:avLst/>
              <a:gdLst>
                <a:gd name="T0" fmla="*/ 138 w 162"/>
                <a:gd name="T1" fmla="*/ 0 h 49"/>
                <a:gd name="T2" fmla="*/ 25 w 162"/>
                <a:gd name="T3" fmla="*/ 0 h 49"/>
                <a:gd name="T4" fmla="*/ 0 w 162"/>
                <a:gd name="T5" fmla="*/ 25 h 49"/>
                <a:gd name="T6" fmla="*/ 0 w 162"/>
                <a:gd name="T7" fmla="*/ 49 h 49"/>
                <a:gd name="T8" fmla="*/ 162 w 162"/>
                <a:gd name="T9" fmla="*/ 49 h 49"/>
                <a:gd name="T10" fmla="*/ 162 w 162"/>
                <a:gd name="T11" fmla="*/ 25 h 49"/>
                <a:gd name="T12" fmla="*/ 138 w 162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49">
                  <a:moveTo>
                    <a:pt x="138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162" y="49"/>
                    <a:pt x="162" y="49"/>
                    <a:pt x="162" y="49"/>
                  </a:cubicBezTo>
                  <a:cubicBezTo>
                    <a:pt x="162" y="25"/>
                    <a:pt x="162" y="25"/>
                    <a:pt x="162" y="25"/>
                  </a:cubicBezTo>
                  <a:cubicBezTo>
                    <a:pt x="162" y="11"/>
                    <a:pt x="151" y="0"/>
                    <a:pt x="13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31" name="Freeform 26">
            <a:extLst>
              <a:ext uri="{FF2B5EF4-FFF2-40B4-BE49-F238E27FC236}">
                <a16:creationId xmlns="" xmlns:a16="http://schemas.microsoft.com/office/drawing/2014/main" id="{5D6C5CE2-08C6-477F-8DE3-BEBD2D6180AC}"/>
              </a:ext>
            </a:extLst>
          </p:cNvPr>
          <p:cNvSpPr>
            <a:spLocks/>
          </p:cNvSpPr>
          <p:nvPr/>
        </p:nvSpPr>
        <p:spPr bwMode="auto">
          <a:xfrm>
            <a:off x="3157301" y="4715684"/>
            <a:ext cx="292825" cy="860605"/>
          </a:xfrm>
          <a:custGeom>
            <a:avLst/>
            <a:gdLst>
              <a:gd name="T0" fmla="*/ 211 w 244"/>
              <a:gd name="T1" fmla="*/ 53 h 789"/>
              <a:gd name="T2" fmla="*/ 193 w 244"/>
              <a:gd name="T3" fmla="*/ 53 h 789"/>
              <a:gd name="T4" fmla="*/ 193 w 244"/>
              <a:gd name="T5" fmla="*/ 25 h 789"/>
              <a:gd name="T6" fmla="*/ 167 w 244"/>
              <a:gd name="T7" fmla="*/ 0 h 789"/>
              <a:gd name="T8" fmla="*/ 77 w 244"/>
              <a:gd name="T9" fmla="*/ 0 h 789"/>
              <a:gd name="T10" fmla="*/ 52 w 244"/>
              <a:gd name="T11" fmla="*/ 25 h 789"/>
              <a:gd name="T12" fmla="*/ 52 w 244"/>
              <a:gd name="T13" fmla="*/ 53 h 789"/>
              <a:gd name="T14" fmla="*/ 34 w 244"/>
              <a:gd name="T15" fmla="*/ 53 h 789"/>
              <a:gd name="T16" fmla="*/ 0 w 244"/>
              <a:gd name="T17" fmla="*/ 86 h 789"/>
              <a:gd name="T18" fmla="*/ 0 w 244"/>
              <a:gd name="T19" fmla="*/ 789 h 789"/>
              <a:gd name="T20" fmla="*/ 244 w 244"/>
              <a:gd name="T21" fmla="*/ 789 h 789"/>
              <a:gd name="T22" fmla="*/ 244 w 244"/>
              <a:gd name="T23" fmla="*/ 86 h 789"/>
              <a:gd name="T24" fmla="*/ 211 w 244"/>
              <a:gd name="T25" fmla="*/ 53 h 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4" h="789">
                <a:moveTo>
                  <a:pt x="211" y="53"/>
                </a:moveTo>
                <a:cubicBezTo>
                  <a:pt x="193" y="53"/>
                  <a:pt x="193" y="53"/>
                  <a:pt x="193" y="53"/>
                </a:cubicBezTo>
                <a:cubicBezTo>
                  <a:pt x="193" y="25"/>
                  <a:pt x="193" y="25"/>
                  <a:pt x="193" y="25"/>
                </a:cubicBezTo>
                <a:cubicBezTo>
                  <a:pt x="193" y="11"/>
                  <a:pt x="182" y="0"/>
                  <a:pt x="167" y="0"/>
                </a:cubicBezTo>
                <a:cubicBezTo>
                  <a:pt x="77" y="0"/>
                  <a:pt x="77" y="0"/>
                  <a:pt x="77" y="0"/>
                </a:cubicBezTo>
                <a:cubicBezTo>
                  <a:pt x="63" y="0"/>
                  <a:pt x="52" y="11"/>
                  <a:pt x="52" y="25"/>
                </a:cubicBezTo>
                <a:cubicBezTo>
                  <a:pt x="52" y="53"/>
                  <a:pt x="52" y="53"/>
                  <a:pt x="52" y="53"/>
                </a:cubicBezTo>
                <a:cubicBezTo>
                  <a:pt x="34" y="53"/>
                  <a:pt x="34" y="53"/>
                  <a:pt x="34" y="53"/>
                </a:cubicBezTo>
                <a:cubicBezTo>
                  <a:pt x="15" y="53"/>
                  <a:pt x="0" y="68"/>
                  <a:pt x="0" y="86"/>
                </a:cubicBezTo>
                <a:cubicBezTo>
                  <a:pt x="0" y="789"/>
                  <a:pt x="0" y="789"/>
                  <a:pt x="0" y="789"/>
                </a:cubicBezTo>
                <a:cubicBezTo>
                  <a:pt x="244" y="789"/>
                  <a:pt x="244" y="789"/>
                  <a:pt x="244" y="789"/>
                </a:cubicBezTo>
                <a:cubicBezTo>
                  <a:pt x="244" y="86"/>
                  <a:pt x="244" y="86"/>
                  <a:pt x="244" y="86"/>
                </a:cubicBezTo>
                <a:cubicBezTo>
                  <a:pt x="244" y="68"/>
                  <a:pt x="229" y="53"/>
                  <a:pt x="211" y="53"/>
                </a:cubicBezTo>
                <a:close/>
              </a:path>
            </a:pathLst>
          </a:custGeom>
          <a:solidFill>
            <a:srgbClr val="2E427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2" name="Freeform 27">
            <a:extLst>
              <a:ext uri="{FF2B5EF4-FFF2-40B4-BE49-F238E27FC236}">
                <a16:creationId xmlns="" xmlns:a16="http://schemas.microsoft.com/office/drawing/2014/main" id="{EBC909A8-CF56-4336-8D5B-6D1EFD28766B}"/>
              </a:ext>
            </a:extLst>
          </p:cNvPr>
          <p:cNvSpPr>
            <a:spLocks/>
          </p:cNvSpPr>
          <p:nvPr/>
        </p:nvSpPr>
        <p:spPr bwMode="auto">
          <a:xfrm>
            <a:off x="1375024" y="5337471"/>
            <a:ext cx="174904" cy="240970"/>
          </a:xfrm>
          <a:custGeom>
            <a:avLst/>
            <a:gdLst>
              <a:gd name="T0" fmla="*/ 132 w 146"/>
              <a:gd name="T1" fmla="*/ 15 h 221"/>
              <a:gd name="T2" fmla="*/ 115 w 146"/>
              <a:gd name="T3" fmla="*/ 15 h 221"/>
              <a:gd name="T4" fmla="*/ 115 w 146"/>
              <a:gd name="T5" fmla="*/ 11 h 221"/>
              <a:gd name="T6" fmla="*/ 105 w 146"/>
              <a:gd name="T7" fmla="*/ 0 h 221"/>
              <a:gd name="T8" fmla="*/ 41 w 146"/>
              <a:gd name="T9" fmla="*/ 0 h 221"/>
              <a:gd name="T10" fmla="*/ 31 w 146"/>
              <a:gd name="T11" fmla="*/ 11 h 221"/>
              <a:gd name="T12" fmla="*/ 31 w 146"/>
              <a:gd name="T13" fmla="*/ 15 h 221"/>
              <a:gd name="T14" fmla="*/ 14 w 146"/>
              <a:gd name="T15" fmla="*/ 15 h 221"/>
              <a:gd name="T16" fmla="*/ 0 w 146"/>
              <a:gd name="T17" fmla="*/ 29 h 221"/>
              <a:gd name="T18" fmla="*/ 0 w 146"/>
              <a:gd name="T19" fmla="*/ 221 h 221"/>
              <a:gd name="T20" fmla="*/ 146 w 146"/>
              <a:gd name="T21" fmla="*/ 221 h 221"/>
              <a:gd name="T22" fmla="*/ 146 w 146"/>
              <a:gd name="T23" fmla="*/ 29 h 221"/>
              <a:gd name="T24" fmla="*/ 132 w 146"/>
              <a:gd name="T25" fmla="*/ 15 h 2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6" h="221">
                <a:moveTo>
                  <a:pt x="132" y="15"/>
                </a:moveTo>
                <a:cubicBezTo>
                  <a:pt x="115" y="15"/>
                  <a:pt x="115" y="15"/>
                  <a:pt x="115" y="15"/>
                </a:cubicBezTo>
                <a:cubicBezTo>
                  <a:pt x="115" y="11"/>
                  <a:pt x="115" y="11"/>
                  <a:pt x="115" y="11"/>
                </a:cubicBezTo>
                <a:cubicBezTo>
                  <a:pt x="115" y="5"/>
                  <a:pt x="110" y="0"/>
                  <a:pt x="105" y="0"/>
                </a:cubicBezTo>
                <a:cubicBezTo>
                  <a:pt x="41" y="0"/>
                  <a:pt x="41" y="0"/>
                  <a:pt x="41" y="0"/>
                </a:cubicBezTo>
                <a:cubicBezTo>
                  <a:pt x="36" y="0"/>
                  <a:pt x="31" y="5"/>
                  <a:pt x="31" y="11"/>
                </a:cubicBezTo>
                <a:cubicBezTo>
                  <a:pt x="31" y="15"/>
                  <a:pt x="31" y="15"/>
                  <a:pt x="31" y="15"/>
                </a:cubicBezTo>
                <a:cubicBezTo>
                  <a:pt x="14" y="15"/>
                  <a:pt x="14" y="15"/>
                  <a:pt x="14" y="15"/>
                </a:cubicBezTo>
                <a:cubicBezTo>
                  <a:pt x="6" y="15"/>
                  <a:pt x="0" y="21"/>
                  <a:pt x="0" y="29"/>
                </a:cubicBezTo>
                <a:cubicBezTo>
                  <a:pt x="0" y="221"/>
                  <a:pt x="0" y="221"/>
                  <a:pt x="0" y="221"/>
                </a:cubicBezTo>
                <a:cubicBezTo>
                  <a:pt x="146" y="221"/>
                  <a:pt x="146" y="221"/>
                  <a:pt x="146" y="221"/>
                </a:cubicBezTo>
                <a:cubicBezTo>
                  <a:pt x="146" y="29"/>
                  <a:pt x="146" y="29"/>
                  <a:pt x="146" y="29"/>
                </a:cubicBezTo>
                <a:cubicBezTo>
                  <a:pt x="146" y="21"/>
                  <a:pt x="140" y="15"/>
                  <a:pt x="132" y="15"/>
                </a:cubicBezTo>
                <a:close/>
              </a:path>
            </a:pathLst>
          </a:custGeom>
          <a:solidFill>
            <a:srgbClr val="2E427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3" name="Freeform 28">
            <a:extLst>
              <a:ext uri="{FF2B5EF4-FFF2-40B4-BE49-F238E27FC236}">
                <a16:creationId xmlns="" xmlns:a16="http://schemas.microsoft.com/office/drawing/2014/main" id="{9D4881D9-D617-4FAC-B033-370A0454A316}"/>
              </a:ext>
            </a:extLst>
          </p:cNvPr>
          <p:cNvSpPr>
            <a:spLocks/>
          </p:cNvSpPr>
          <p:nvPr/>
        </p:nvSpPr>
        <p:spPr bwMode="auto">
          <a:xfrm>
            <a:off x="2634964" y="4036523"/>
            <a:ext cx="287286" cy="1539766"/>
          </a:xfrm>
          <a:custGeom>
            <a:avLst/>
            <a:gdLst>
              <a:gd name="T0" fmla="*/ 214 w 240"/>
              <a:gd name="T1" fmla="*/ 392 h 1412"/>
              <a:gd name="T2" fmla="*/ 206 w 240"/>
              <a:gd name="T3" fmla="*/ 392 h 1412"/>
              <a:gd name="T4" fmla="*/ 206 w 240"/>
              <a:gd name="T5" fmla="*/ 177 h 1412"/>
              <a:gd name="T6" fmla="*/ 181 w 240"/>
              <a:gd name="T7" fmla="*/ 152 h 1412"/>
              <a:gd name="T8" fmla="*/ 173 w 240"/>
              <a:gd name="T9" fmla="*/ 152 h 1412"/>
              <a:gd name="T10" fmla="*/ 173 w 240"/>
              <a:gd name="T11" fmla="*/ 25 h 1412"/>
              <a:gd name="T12" fmla="*/ 148 w 240"/>
              <a:gd name="T13" fmla="*/ 0 h 1412"/>
              <a:gd name="T14" fmla="*/ 93 w 240"/>
              <a:gd name="T15" fmla="*/ 0 h 1412"/>
              <a:gd name="T16" fmla="*/ 67 w 240"/>
              <a:gd name="T17" fmla="*/ 25 h 1412"/>
              <a:gd name="T18" fmla="*/ 67 w 240"/>
              <a:gd name="T19" fmla="*/ 152 h 1412"/>
              <a:gd name="T20" fmla="*/ 59 w 240"/>
              <a:gd name="T21" fmla="*/ 152 h 1412"/>
              <a:gd name="T22" fmla="*/ 34 w 240"/>
              <a:gd name="T23" fmla="*/ 177 h 1412"/>
              <a:gd name="T24" fmla="*/ 34 w 240"/>
              <a:gd name="T25" fmla="*/ 392 h 1412"/>
              <a:gd name="T26" fmla="*/ 27 w 240"/>
              <a:gd name="T27" fmla="*/ 392 h 1412"/>
              <a:gd name="T28" fmla="*/ 0 w 240"/>
              <a:gd name="T29" fmla="*/ 419 h 1412"/>
              <a:gd name="T30" fmla="*/ 0 w 240"/>
              <a:gd name="T31" fmla="*/ 1412 h 1412"/>
              <a:gd name="T32" fmla="*/ 240 w 240"/>
              <a:gd name="T33" fmla="*/ 1412 h 1412"/>
              <a:gd name="T34" fmla="*/ 240 w 240"/>
              <a:gd name="T35" fmla="*/ 419 h 1412"/>
              <a:gd name="T36" fmla="*/ 214 w 240"/>
              <a:gd name="T37" fmla="*/ 392 h 1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0" h="1412">
                <a:moveTo>
                  <a:pt x="214" y="392"/>
                </a:moveTo>
                <a:cubicBezTo>
                  <a:pt x="206" y="392"/>
                  <a:pt x="206" y="392"/>
                  <a:pt x="206" y="392"/>
                </a:cubicBezTo>
                <a:cubicBezTo>
                  <a:pt x="206" y="177"/>
                  <a:pt x="206" y="177"/>
                  <a:pt x="206" y="177"/>
                </a:cubicBezTo>
                <a:cubicBezTo>
                  <a:pt x="206" y="163"/>
                  <a:pt x="195" y="152"/>
                  <a:pt x="181" y="152"/>
                </a:cubicBezTo>
                <a:cubicBezTo>
                  <a:pt x="173" y="152"/>
                  <a:pt x="173" y="152"/>
                  <a:pt x="173" y="152"/>
                </a:cubicBezTo>
                <a:cubicBezTo>
                  <a:pt x="173" y="25"/>
                  <a:pt x="173" y="25"/>
                  <a:pt x="173" y="25"/>
                </a:cubicBezTo>
                <a:cubicBezTo>
                  <a:pt x="173" y="11"/>
                  <a:pt x="162" y="0"/>
                  <a:pt x="148" y="0"/>
                </a:cubicBezTo>
                <a:cubicBezTo>
                  <a:pt x="93" y="0"/>
                  <a:pt x="93" y="0"/>
                  <a:pt x="93" y="0"/>
                </a:cubicBezTo>
                <a:cubicBezTo>
                  <a:pt x="79" y="0"/>
                  <a:pt x="67" y="11"/>
                  <a:pt x="67" y="25"/>
                </a:cubicBezTo>
                <a:cubicBezTo>
                  <a:pt x="67" y="152"/>
                  <a:pt x="67" y="152"/>
                  <a:pt x="67" y="152"/>
                </a:cubicBezTo>
                <a:cubicBezTo>
                  <a:pt x="59" y="152"/>
                  <a:pt x="59" y="152"/>
                  <a:pt x="59" y="152"/>
                </a:cubicBezTo>
                <a:cubicBezTo>
                  <a:pt x="46" y="152"/>
                  <a:pt x="34" y="163"/>
                  <a:pt x="34" y="177"/>
                </a:cubicBezTo>
                <a:cubicBezTo>
                  <a:pt x="34" y="392"/>
                  <a:pt x="34" y="392"/>
                  <a:pt x="34" y="392"/>
                </a:cubicBezTo>
                <a:cubicBezTo>
                  <a:pt x="27" y="392"/>
                  <a:pt x="27" y="392"/>
                  <a:pt x="27" y="392"/>
                </a:cubicBezTo>
                <a:cubicBezTo>
                  <a:pt x="12" y="392"/>
                  <a:pt x="0" y="404"/>
                  <a:pt x="0" y="419"/>
                </a:cubicBezTo>
                <a:cubicBezTo>
                  <a:pt x="0" y="1412"/>
                  <a:pt x="0" y="1412"/>
                  <a:pt x="0" y="1412"/>
                </a:cubicBezTo>
                <a:cubicBezTo>
                  <a:pt x="240" y="1412"/>
                  <a:pt x="240" y="1412"/>
                  <a:pt x="240" y="1412"/>
                </a:cubicBezTo>
                <a:cubicBezTo>
                  <a:pt x="240" y="419"/>
                  <a:pt x="240" y="419"/>
                  <a:pt x="240" y="419"/>
                </a:cubicBezTo>
                <a:cubicBezTo>
                  <a:pt x="240" y="404"/>
                  <a:pt x="228" y="392"/>
                  <a:pt x="214" y="392"/>
                </a:cubicBezTo>
                <a:close/>
              </a:path>
            </a:pathLst>
          </a:custGeom>
          <a:solidFill>
            <a:srgbClr val="2E427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4" name="Freeform 29">
            <a:extLst>
              <a:ext uri="{FF2B5EF4-FFF2-40B4-BE49-F238E27FC236}">
                <a16:creationId xmlns="" xmlns:a16="http://schemas.microsoft.com/office/drawing/2014/main" id="{232DB184-BDD6-4A6D-AE63-5D182A813610}"/>
              </a:ext>
            </a:extLst>
          </p:cNvPr>
          <p:cNvSpPr>
            <a:spLocks/>
          </p:cNvSpPr>
          <p:nvPr/>
        </p:nvSpPr>
        <p:spPr bwMode="auto">
          <a:xfrm>
            <a:off x="860601" y="5077856"/>
            <a:ext cx="164616" cy="500585"/>
          </a:xfrm>
          <a:custGeom>
            <a:avLst/>
            <a:gdLst>
              <a:gd name="T0" fmla="*/ 125 w 137"/>
              <a:gd name="T1" fmla="*/ 128 h 459"/>
              <a:gd name="T2" fmla="*/ 117 w 137"/>
              <a:gd name="T3" fmla="*/ 128 h 459"/>
              <a:gd name="T4" fmla="*/ 117 w 137"/>
              <a:gd name="T5" fmla="*/ 127 h 459"/>
              <a:gd name="T6" fmla="*/ 117 w 137"/>
              <a:gd name="T7" fmla="*/ 61 h 459"/>
              <a:gd name="T8" fmla="*/ 106 w 137"/>
              <a:gd name="T9" fmla="*/ 50 h 459"/>
              <a:gd name="T10" fmla="*/ 98 w 137"/>
              <a:gd name="T11" fmla="*/ 50 h 459"/>
              <a:gd name="T12" fmla="*/ 98 w 137"/>
              <a:gd name="T13" fmla="*/ 11 h 459"/>
              <a:gd name="T14" fmla="*/ 88 w 137"/>
              <a:gd name="T15" fmla="*/ 0 h 459"/>
              <a:gd name="T16" fmla="*/ 49 w 137"/>
              <a:gd name="T17" fmla="*/ 0 h 459"/>
              <a:gd name="T18" fmla="*/ 38 w 137"/>
              <a:gd name="T19" fmla="*/ 11 h 459"/>
              <a:gd name="T20" fmla="*/ 38 w 137"/>
              <a:gd name="T21" fmla="*/ 50 h 459"/>
              <a:gd name="T22" fmla="*/ 30 w 137"/>
              <a:gd name="T23" fmla="*/ 50 h 459"/>
              <a:gd name="T24" fmla="*/ 19 w 137"/>
              <a:gd name="T25" fmla="*/ 61 h 459"/>
              <a:gd name="T26" fmla="*/ 19 w 137"/>
              <a:gd name="T27" fmla="*/ 127 h 459"/>
              <a:gd name="T28" fmla="*/ 19 w 137"/>
              <a:gd name="T29" fmla="*/ 128 h 459"/>
              <a:gd name="T30" fmla="*/ 11 w 137"/>
              <a:gd name="T31" fmla="*/ 128 h 459"/>
              <a:gd name="T32" fmla="*/ 0 w 137"/>
              <a:gd name="T33" fmla="*/ 139 h 459"/>
              <a:gd name="T34" fmla="*/ 0 w 137"/>
              <a:gd name="T35" fmla="*/ 459 h 459"/>
              <a:gd name="T36" fmla="*/ 137 w 137"/>
              <a:gd name="T37" fmla="*/ 459 h 459"/>
              <a:gd name="T38" fmla="*/ 137 w 137"/>
              <a:gd name="T39" fmla="*/ 139 h 459"/>
              <a:gd name="T40" fmla="*/ 125 w 137"/>
              <a:gd name="T41" fmla="*/ 128 h 4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37" h="459">
                <a:moveTo>
                  <a:pt x="125" y="128"/>
                </a:moveTo>
                <a:cubicBezTo>
                  <a:pt x="117" y="128"/>
                  <a:pt x="117" y="128"/>
                  <a:pt x="117" y="128"/>
                </a:cubicBezTo>
                <a:cubicBezTo>
                  <a:pt x="117" y="128"/>
                  <a:pt x="117" y="128"/>
                  <a:pt x="117" y="127"/>
                </a:cubicBezTo>
                <a:cubicBezTo>
                  <a:pt x="117" y="61"/>
                  <a:pt x="117" y="61"/>
                  <a:pt x="117" y="61"/>
                </a:cubicBezTo>
                <a:cubicBezTo>
                  <a:pt x="117" y="55"/>
                  <a:pt x="112" y="50"/>
                  <a:pt x="106" y="50"/>
                </a:cubicBezTo>
                <a:cubicBezTo>
                  <a:pt x="98" y="50"/>
                  <a:pt x="98" y="50"/>
                  <a:pt x="98" y="50"/>
                </a:cubicBezTo>
                <a:cubicBezTo>
                  <a:pt x="98" y="11"/>
                  <a:pt x="98" y="11"/>
                  <a:pt x="98" y="11"/>
                </a:cubicBezTo>
                <a:cubicBezTo>
                  <a:pt x="98" y="5"/>
                  <a:pt x="94" y="0"/>
                  <a:pt x="88" y="0"/>
                </a:cubicBezTo>
                <a:cubicBezTo>
                  <a:pt x="49" y="0"/>
                  <a:pt x="49" y="0"/>
                  <a:pt x="49" y="0"/>
                </a:cubicBezTo>
                <a:cubicBezTo>
                  <a:pt x="43" y="0"/>
                  <a:pt x="38" y="5"/>
                  <a:pt x="38" y="11"/>
                </a:cubicBezTo>
                <a:cubicBezTo>
                  <a:pt x="38" y="50"/>
                  <a:pt x="38" y="50"/>
                  <a:pt x="38" y="50"/>
                </a:cubicBezTo>
                <a:cubicBezTo>
                  <a:pt x="30" y="50"/>
                  <a:pt x="30" y="50"/>
                  <a:pt x="30" y="50"/>
                </a:cubicBezTo>
                <a:cubicBezTo>
                  <a:pt x="24" y="50"/>
                  <a:pt x="19" y="55"/>
                  <a:pt x="19" y="61"/>
                </a:cubicBezTo>
                <a:cubicBezTo>
                  <a:pt x="19" y="127"/>
                  <a:pt x="19" y="127"/>
                  <a:pt x="19" y="127"/>
                </a:cubicBezTo>
                <a:cubicBezTo>
                  <a:pt x="19" y="128"/>
                  <a:pt x="19" y="128"/>
                  <a:pt x="19" y="128"/>
                </a:cubicBezTo>
                <a:cubicBezTo>
                  <a:pt x="11" y="128"/>
                  <a:pt x="11" y="128"/>
                  <a:pt x="11" y="128"/>
                </a:cubicBezTo>
                <a:cubicBezTo>
                  <a:pt x="5" y="128"/>
                  <a:pt x="0" y="133"/>
                  <a:pt x="0" y="139"/>
                </a:cubicBezTo>
                <a:cubicBezTo>
                  <a:pt x="0" y="459"/>
                  <a:pt x="0" y="459"/>
                  <a:pt x="0" y="459"/>
                </a:cubicBezTo>
                <a:cubicBezTo>
                  <a:pt x="137" y="459"/>
                  <a:pt x="137" y="459"/>
                  <a:pt x="137" y="459"/>
                </a:cubicBezTo>
                <a:cubicBezTo>
                  <a:pt x="137" y="139"/>
                  <a:pt x="137" y="139"/>
                  <a:pt x="137" y="139"/>
                </a:cubicBezTo>
                <a:cubicBezTo>
                  <a:pt x="137" y="133"/>
                  <a:pt x="131" y="128"/>
                  <a:pt x="125" y="128"/>
                </a:cubicBezTo>
                <a:close/>
              </a:path>
            </a:pathLst>
          </a:custGeom>
          <a:solidFill>
            <a:srgbClr val="2E427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5" name="Freeform 30">
            <a:extLst>
              <a:ext uri="{FF2B5EF4-FFF2-40B4-BE49-F238E27FC236}">
                <a16:creationId xmlns="" xmlns:a16="http://schemas.microsoft.com/office/drawing/2014/main" id="{1DCC80D4-E764-4C55-92D0-7AA1463607A3}"/>
              </a:ext>
            </a:extLst>
          </p:cNvPr>
          <p:cNvSpPr>
            <a:spLocks/>
          </p:cNvSpPr>
          <p:nvPr/>
        </p:nvSpPr>
        <p:spPr bwMode="auto">
          <a:xfrm>
            <a:off x="5224490" y="4744371"/>
            <a:ext cx="288077" cy="823312"/>
          </a:xfrm>
          <a:custGeom>
            <a:avLst/>
            <a:gdLst>
              <a:gd name="T0" fmla="*/ 220 w 240"/>
              <a:gd name="T1" fmla="*/ 210 h 755"/>
              <a:gd name="T2" fmla="*/ 206 w 240"/>
              <a:gd name="T3" fmla="*/ 210 h 755"/>
              <a:gd name="T4" fmla="*/ 206 w 240"/>
              <a:gd name="T5" fmla="*/ 209 h 755"/>
              <a:gd name="T6" fmla="*/ 206 w 240"/>
              <a:gd name="T7" fmla="*/ 100 h 755"/>
              <a:gd name="T8" fmla="*/ 187 w 240"/>
              <a:gd name="T9" fmla="*/ 82 h 755"/>
              <a:gd name="T10" fmla="*/ 173 w 240"/>
              <a:gd name="T11" fmla="*/ 82 h 755"/>
              <a:gd name="T12" fmla="*/ 173 w 240"/>
              <a:gd name="T13" fmla="*/ 19 h 755"/>
              <a:gd name="T14" fmla="*/ 154 w 240"/>
              <a:gd name="T15" fmla="*/ 0 h 755"/>
              <a:gd name="T16" fmla="*/ 85 w 240"/>
              <a:gd name="T17" fmla="*/ 0 h 755"/>
              <a:gd name="T18" fmla="*/ 67 w 240"/>
              <a:gd name="T19" fmla="*/ 19 h 755"/>
              <a:gd name="T20" fmla="*/ 67 w 240"/>
              <a:gd name="T21" fmla="*/ 82 h 755"/>
              <a:gd name="T22" fmla="*/ 52 w 240"/>
              <a:gd name="T23" fmla="*/ 82 h 755"/>
              <a:gd name="T24" fmla="*/ 34 w 240"/>
              <a:gd name="T25" fmla="*/ 100 h 755"/>
              <a:gd name="T26" fmla="*/ 34 w 240"/>
              <a:gd name="T27" fmla="*/ 209 h 755"/>
              <a:gd name="T28" fmla="*/ 34 w 240"/>
              <a:gd name="T29" fmla="*/ 210 h 755"/>
              <a:gd name="T30" fmla="*/ 19 w 240"/>
              <a:gd name="T31" fmla="*/ 210 h 755"/>
              <a:gd name="T32" fmla="*/ 0 w 240"/>
              <a:gd name="T33" fmla="*/ 229 h 755"/>
              <a:gd name="T34" fmla="*/ 0 w 240"/>
              <a:gd name="T35" fmla="*/ 755 h 755"/>
              <a:gd name="T36" fmla="*/ 240 w 240"/>
              <a:gd name="T37" fmla="*/ 755 h 755"/>
              <a:gd name="T38" fmla="*/ 240 w 240"/>
              <a:gd name="T39" fmla="*/ 229 h 755"/>
              <a:gd name="T40" fmla="*/ 220 w 240"/>
              <a:gd name="T41" fmla="*/ 210 h 7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40" h="755">
                <a:moveTo>
                  <a:pt x="220" y="210"/>
                </a:moveTo>
                <a:cubicBezTo>
                  <a:pt x="206" y="210"/>
                  <a:pt x="206" y="210"/>
                  <a:pt x="206" y="210"/>
                </a:cubicBezTo>
                <a:cubicBezTo>
                  <a:pt x="206" y="209"/>
                  <a:pt x="206" y="209"/>
                  <a:pt x="206" y="209"/>
                </a:cubicBezTo>
                <a:cubicBezTo>
                  <a:pt x="206" y="100"/>
                  <a:pt x="206" y="100"/>
                  <a:pt x="206" y="100"/>
                </a:cubicBezTo>
                <a:cubicBezTo>
                  <a:pt x="206" y="90"/>
                  <a:pt x="197" y="82"/>
                  <a:pt x="187" y="82"/>
                </a:cubicBezTo>
                <a:cubicBezTo>
                  <a:pt x="173" y="82"/>
                  <a:pt x="173" y="82"/>
                  <a:pt x="173" y="82"/>
                </a:cubicBezTo>
                <a:cubicBezTo>
                  <a:pt x="173" y="19"/>
                  <a:pt x="173" y="19"/>
                  <a:pt x="173" y="19"/>
                </a:cubicBezTo>
                <a:cubicBezTo>
                  <a:pt x="173" y="9"/>
                  <a:pt x="164" y="0"/>
                  <a:pt x="154" y="0"/>
                </a:cubicBezTo>
                <a:cubicBezTo>
                  <a:pt x="85" y="0"/>
                  <a:pt x="85" y="0"/>
                  <a:pt x="85" y="0"/>
                </a:cubicBezTo>
                <a:cubicBezTo>
                  <a:pt x="75" y="0"/>
                  <a:pt x="67" y="9"/>
                  <a:pt x="67" y="19"/>
                </a:cubicBezTo>
                <a:cubicBezTo>
                  <a:pt x="67" y="82"/>
                  <a:pt x="67" y="82"/>
                  <a:pt x="67" y="82"/>
                </a:cubicBezTo>
                <a:cubicBezTo>
                  <a:pt x="52" y="82"/>
                  <a:pt x="52" y="82"/>
                  <a:pt x="52" y="82"/>
                </a:cubicBezTo>
                <a:cubicBezTo>
                  <a:pt x="42" y="82"/>
                  <a:pt x="34" y="90"/>
                  <a:pt x="34" y="100"/>
                </a:cubicBezTo>
                <a:cubicBezTo>
                  <a:pt x="34" y="209"/>
                  <a:pt x="34" y="209"/>
                  <a:pt x="34" y="209"/>
                </a:cubicBezTo>
                <a:cubicBezTo>
                  <a:pt x="34" y="209"/>
                  <a:pt x="34" y="209"/>
                  <a:pt x="34" y="210"/>
                </a:cubicBezTo>
                <a:cubicBezTo>
                  <a:pt x="19" y="210"/>
                  <a:pt x="19" y="210"/>
                  <a:pt x="19" y="210"/>
                </a:cubicBezTo>
                <a:cubicBezTo>
                  <a:pt x="8" y="210"/>
                  <a:pt x="0" y="218"/>
                  <a:pt x="0" y="229"/>
                </a:cubicBezTo>
                <a:cubicBezTo>
                  <a:pt x="0" y="755"/>
                  <a:pt x="0" y="755"/>
                  <a:pt x="0" y="755"/>
                </a:cubicBezTo>
                <a:cubicBezTo>
                  <a:pt x="240" y="755"/>
                  <a:pt x="240" y="755"/>
                  <a:pt x="240" y="755"/>
                </a:cubicBezTo>
                <a:cubicBezTo>
                  <a:pt x="240" y="229"/>
                  <a:pt x="240" y="229"/>
                  <a:pt x="240" y="229"/>
                </a:cubicBezTo>
                <a:cubicBezTo>
                  <a:pt x="240" y="218"/>
                  <a:pt x="231" y="210"/>
                  <a:pt x="220" y="210"/>
                </a:cubicBezTo>
                <a:close/>
              </a:path>
            </a:pathLst>
          </a:custGeom>
          <a:solidFill>
            <a:srgbClr val="2E427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6" name="Freeform 31">
            <a:extLst>
              <a:ext uri="{FF2B5EF4-FFF2-40B4-BE49-F238E27FC236}">
                <a16:creationId xmlns="" xmlns:a16="http://schemas.microsoft.com/office/drawing/2014/main" id="{3813DAF8-929D-44CB-B755-AF271100C7C3}"/>
              </a:ext>
            </a:extLst>
          </p:cNvPr>
          <p:cNvSpPr>
            <a:spLocks/>
          </p:cNvSpPr>
          <p:nvPr/>
        </p:nvSpPr>
        <p:spPr bwMode="auto">
          <a:xfrm>
            <a:off x="1580002" y="4616715"/>
            <a:ext cx="295200" cy="959575"/>
          </a:xfrm>
          <a:custGeom>
            <a:avLst/>
            <a:gdLst>
              <a:gd name="T0" fmla="*/ 218 w 246"/>
              <a:gd name="T1" fmla="*/ 0 h 880"/>
              <a:gd name="T2" fmla="*/ 142 w 246"/>
              <a:gd name="T3" fmla="*/ 0 h 880"/>
              <a:gd name="T4" fmla="*/ 114 w 246"/>
              <a:gd name="T5" fmla="*/ 28 h 880"/>
              <a:gd name="T6" fmla="*/ 114 w 246"/>
              <a:gd name="T7" fmla="*/ 125 h 880"/>
              <a:gd name="T8" fmla="*/ 31 w 246"/>
              <a:gd name="T9" fmla="*/ 125 h 880"/>
              <a:gd name="T10" fmla="*/ 0 w 246"/>
              <a:gd name="T11" fmla="*/ 156 h 880"/>
              <a:gd name="T12" fmla="*/ 0 w 246"/>
              <a:gd name="T13" fmla="*/ 880 h 880"/>
              <a:gd name="T14" fmla="*/ 244 w 246"/>
              <a:gd name="T15" fmla="*/ 880 h 880"/>
              <a:gd name="T16" fmla="*/ 244 w 246"/>
              <a:gd name="T17" fmla="*/ 174 h 880"/>
              <a:gd name="T18" fmla="*/ 246 w 246"/>
              <a:gd name="T19" fmla="*/ 164 h 880"/>
              <a:gd name="T20" fmla="*/ 246 w 246"/>
              <a:gd name="T21" fmla="*/ 28 h 880"/>
              <a:gd name="T22" fmla="*/ 218 w 246"/>
              <a:gd name="T23" fmla="*/ 0 h 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46" h="880">
                <a:moveTo>
                  <a:pt x="218" y="0"/>
                </a:moveTo>
                <a:cubicBezTo>
                  <a:pt x="142" y="0"/>
                  <a:pt x="142" y="0"/>
                  <a:pt x="142" y="0"/>
                </a:cubicBezTo>
                <a:cubicBezTo>
                  <a:pt x="127" y="0"/>
                  <a:pt x="114" y="12"/>
                  <a:pt x="114" y="28"/>
                </a:cubicBezTo>
                <a:cubicBezTo>
                  <a:pt x="114" y="125"/>
                  <a:pt x="114" y="125"/>
                  <a:pt x="114" y="125"/>
                </a:cubicBezTo>
                <a:cubicBezTo>
                  <a:pt x="31" y="125"/>
                  <a:pt x="31" y="125"/>
                  <a:pt x="31" y="125"/>
                </a:cubicBezTo>
                <a:cubicBezTo>
                  <a:pt x="14" y="125"/>
                  <a:pt x="0" y="139"/>
                  <a:pt x="0" y="156"/>
                </a:cubicBezTo>
                <a:cubicBezTo>
                  <a:pt x="0" y="880"/>
                  <a:pt x="0" y="880"/>
                  <a:pt x="0" y="880"/>
                </a:cubicBezTo>
                <a:cubicBezTo>
                  <a:pt x="244" y="880"/>
                  <a:pt x="244" y="880"/>
                  <a:pt x="244" y="880"/>
                </a:cubicBezTo>
                <a:cubicBezTo>
                  <a:pt x="244" y="174"/>
                  <a:pt x="244" y="174"/>
                  <a:pt x="244" y="174"/>
                </a:cubicBezTo>
                <a:cubicBezTo>
                  <a:pt x="246" y="171"/>
                  <a:pt x="246" y="167"/>
                  <a:pt x="246" y="164"/>
                </a:cubicBezTo>
                <a:cubicBezTo>
                  <a:pt x="246" y="28"/>
                  <a:pt x="246" y="28"/>
                  <a:pt x="246" y="28"/>
                </a:cubicBezTo>
                <a:cubicBezTo>
                  <a:pt x="246" y="12"/>
                  <a:pt x="234" y="0"/>
                  <a:pt x="218" y="0"/>
                </a:cubicBezTo>
                <a:close/>
              </a:path>
            </a:pathLst>
          </a:custGeom>
          <a:solidFill>
            <a:srgbClr val="2E427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7" name="Freeform 32">
            <a:extLst>
              <a:ext uri="{FF2B5EF4-FFF2-40B4-BE49-F238E27FC236}">
                <a16:creationId xmlns="" xmlns:a16="http://schemas.microsoft.com/office/drawing/2014/main" id="{9A2B7662-2DE0-41CD-81E0-5C1D7718DC8D}"/>
              </a:ext>
            </a:extLst>
          </p:cNvPr>
          <p:cNvSpPr>
            <a:spLocks/>
          </p:cNvSpPr>
          <p:nvPr/>
        </p:nvSpPr>
        <p:spPr bwMode="auto">
          <a:xfrm>
            <a:off x="2107087" y="4581573"/>
            <a:ext cx="292034" cy="994716"/>
          </a:xfrm>
          <a:custGeom>
            <a:avLst/>
            <a:gdLst>
              <a:gd name="T0" fmla="*/ 213 w 244"/>
              <a:gd name="T1" fmla="*/ 157 h 912"/>
              <a:gd name="T2" fmla="*/ 132 w 244"/>
              <a:gd name="T3" fmla="*/ 157 h 912"/>
              <a:gd name="T4" fmla="*/ 132 w 244"/>
              <a:gd name="T5" fmla="*/ 28 h 912"/>
              <a:gd name="T6" fmla="*/ 104 w 244"/>
              <a:gd name="T7" fmla="*/ 0 h 912"/>
              <a:gd name="T8" fmla="*/ 28 w 244"/>
              <a:gd name="T9" fmla="*/ 0 h 912"/>
              <a:gd name="T10" fmla="*/ 0 w 244"/>
              <a:gd name="T11" fmla="*/ 28 h 912"/>
              <a:gd name="T12" fmla="*/ 0 w 244"/>
              <a:gd name="T13" fmla="*/ 164 h 912"/>
              <a:gd name="T14" fmla="*/ 3 w 244"/>
              <a:gd name="T15" fmla="*/ 176 h 912"/>
              <a:gd name="T16" fmla="*/ 0 w 244"/>
              <a:gd name="T17" fmla="*/ 188 h 912"/>
              <a:gd name="T18" fmla="*/ 0 w 244"/>
              <a:gd name="T19" fmla="*/ 912 h 912"/>
              <a:gd name="T20" fmla="*/ 244 w 244"/>
              <a:gd name="T21" fmla="*/ 912 h 912"/>
              <a:gd name="T22" fmla="*/ 244 w 244"/>
              <a:gd name="T23" fmla="*/ 188 h 912"/>
              <a:gd name="T24" fmla="*/ 213 w 244"/>
              <a:gd name="T25" fmla="*/ 157 h 9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4" h="912">
                <a:moveTo>
                  <a:pt x="213" y="157"/>
                </a:moveTo>
                <a:cubicBezTo>
                  <a:pt x="132" y="157"/>
                  <a:pt x="132" y="157"/>
                  <a:pt x="132" y="157"/>
                </a:cubicBezTo>
                <a:cubicBezTo>
                  <a:pt x="132" y="28"/>
                  <a:pt x="132" y="28"/>
                  <a:pt x="132" y="28"/>
                </a:cubicBezTo>
                <a:cubicBezTo>
                  <a:pt x="132" y="12"/>
                  <a:pt x="120" y="0"/>
                  <a:pt x="104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13" y="0"/>
                  <a:pt x="0" y="12"/>
                  <a:pt x="0" y="28"/>
                </a:cubicBezTo>
                <a:cubicBezTo>
                  <a:pt x="0" y="164"/>
                  <a:pt x="0" y="164"/>
                  <a:pt x="0" y="164"/>
                </a:cubicBezTo>
                <a:cubicBezTo>
                  <a:pt x="0" y="168"/>
                  <a:pt x="1" y="172"/>
                  <a:pt x="3" y="176"/>
                </a:cubicBezTo>
                <a:cubicBezTo>
                  <a:pt x="1" y="180"/>
                  <a:pt x="0" y="184"/>
                  <a:pt x="0" y="188"/>
                </a:cubicBezTo>
                <a:cubicBezTo>
                  <a:pt x="0" y="912"/>
                  <a:pt x="0" y="912"/>
                  <a:pt x="0" y="912"/>
                </a:cubicBezTo>
                <a:cubicBezTo>
                  <a:pt x="244" y="912"/>
                  <a:pt x="244" y="912"/>
                  <a:pt x="244" y="912"/>
                </a:cubicBezTo>
                <a:cubicBezTo>
                  <a:pt x="244" y="188"/>
                  <a:pt x="244" y="188"/>
                  <a:pt x="244" y="188"/>
                </a:cubicBezTo>
                <a:cubicBezTo>
                  <a:pt x="244" y="171"/>
                  <a:pt x="230" y="157"/>
                  <a:pt x="213" y="157"/>
                </a:cubicBezTo>
                <a:close/>
              </a:path>
            </a:pathLst>
          </a:custGeom>
          <a:solidFill>
            <a:srgbClr val="2E427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8" name="Freeform 33">
            <a:extLst>
              <a:ext uri="{FF2B5EF4-FFF2-40B4-BE49-F238E27FC236}">
                <a16:creationId xmlns="" xmlns:a16="http://schemas.microsoft.com/office/drawing/2014/main" id="{9901A402-CAF0-471D-AB60-59F8A09E60CC}"/>
              </a:ext>
            </a:extLst>
          </p:cNvPr>
          <p:cNvSpPr>
            <a:spLocks/>
          </p:cNvSpPr>
          <p:nvPr/>
        </p:nvSpPr>
        <p:spPr bwMode="auto">
          <a:xfrm>
            <a:off x="4612722" y="4608109"/>
            <a:ext cx="441612" cy="961009"/>
          </a:xfrm>
          <a:custGeom>
            <a:avLst/>
            <a:gdLst>
              <a:gd name="T0" fmla="*/ 330 w 368"/>
              <a:gd name="T1" fmla="*/ 19 h 881"/>
              <a:gd name="T2" fmla="*/ 318 w 368"/>
              <a:gd name="T3" fmla="*/ 14 h 881"/>
              <a:gd name="T4" fmla="*/ 240 w 368"/>
              <a:gd name="T5" fmla="*/ 69 h 881"/>
              <a:gd name="T6" fmla="*/ 240 w 368"/>
              <a:gd name="T7" fmla="*/ 91 h 881"/>
              <a:gd name="T8" fmla="*/ 182 w 368"/>
              <a:gd name="T9" fmla="*/ 149 h 881"/>
              <a:gd name="T10" fmla="*/ 58 w 368"/>
              <a:gd name="T11" fmla="*/ 149 h 881"/>
              <a:gd name="T12" fmla="*/ 0 w 368"/>
              <a:gd name="T13" fmla="*/ 207 h 881"/>
              <a:gd name="T14" fmla="*/ 0 w 368"/>
              <a:gd name="T15" fmla="*/ 353 h 881"/>
              <a:gd name="T16" fmla="*/ 0 w 368"/>
              <a:gd name="T17" fmla="*/ 881 h 881"/>
              <a:gd name="T18" fmla="*/ 368 w 368"/>
              <a:gd name="T19" fmla="*/ 881 h 881"/>
              <a:gd name="T20" fmla="*/ 368 w 368"/>
              <a:gd name="T21" fmla="*/ 73 h 881"/>
              <a:gd name="T22" fmla="*/ 330 w 368"/>
              <a:gd name="T23" fmla="*/ 19 h 8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68" h="881">
                <a:moveTo>
                  <a:pt x="330" y="19"/>
                </a:moveTo>
                <a:cubicBezTo>
                  <a:pt x="318" y="14"/>
                  <a:pt x="318" y="14"/>
                  <a:pt x="318" y="14"/>
                </a:cubicBezTo>
                <a:cubicBezTo>
                  <a:pt x="280" y="0"/>
                  <a:pt x="240" y="28"/>
                  <a:pt x="240" y="69"/>
                </a:cubicBezTo>
                <a:cubicBezTo>
                  <a:pt x="240" y="91"/>
                  <a:pt x="240" y="91"/>
                  <a:pt x="240" y="91"/>
                </a:cubicBezTo>
                <a:cubicBezTo>
                  <a:pt x="240" y="123"/>
                  <a:pt x="214" y="149"/>
                  <a:pt x="182" y="149"/>
                </a:cubicBezTo>
                <a:cubicBezTo>
                  <a:pt x="58" y="149"/>
                  <a:pt x="58" y="149"/>
                  <a:pt x="58" y="149"/>
                </a:cubicBezTo>
                <a:cubicBezTo>
                  <a:pt x="26" y="149"/>
                  <a:pt x="0" y="175"/>
                  <a:pt x="0" y="207"/>
                </a:cubicBezTo>
                <a:cubicBezTo>
                  <a:pt x="0" y="353"/>
                  <a:pt x="0" y="353"/>
                  <a:pt x="0" y="353"/>
                </a:cubicBezTo>
                <a:cubicBezTo>
                  <a:pt x="0" y="881"/>
                  <a:pt x="0" y="881"/>
                  <a:pt x="0" y="881"/>
                </a:cubicBezTo>
                <a:cubicBezTo>
                  <a:pt x="368" y="881"/>
                  <a:pt x="368" y="881"/>
                  <a:pt x="368" y="881"/>
                </a:cubicBezTo>
                <a:cubicBezTo>
                  <a:pt x="368" y="73"/>
                  <a:pt x="368" y="73"/>
                  <a:pt x="368" y="73"/>
                </a:cubicBezTo>
                <a:cubicBezTo>
                  <a:pt x="368" y="49"/>
                  <a:pt x="353" y="27"/>
                  <a:pt x="330" y="19"/>
                </a:cubicBezTo>
                <a:close/>
              </a:path>
            </a:pathLst>
          </a:custGeom>
          <a:solidFill>
            <a:srgbClr val="2E427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9" name="Freeform 34">
            <a:extLst>
              <a:ext uri="{FF2B5EF4-FFF2-40B4-BE49-F238E27FC236}">
                <a16:creationId xmlns="" xmlns:a16="http://schemas.microsoft.com/office/drawing/2014/main" id="{7FA0967A-6F53-43BF-97B0-591FEC8C7DBA}"/>
              </a:ext>
            </a:extLst>
          </p:cNvPr>
          <p:cNvSpPr>
            <a:spLocks/>
          </p:cNvSpPr>
          <p:nvPr/>
        </p:nvSpPr>
        <p:spPr bwMode="auto">
          <a:xfrm>
            <a:off x="379418" y="4977452"/>
            <a:ext cx="116339" cy="598838"/>
          </a:xfrm>
          <a:custGeom>
            <a:avLst/>
            <a:gdLst>
              <a:gd name="T0" fmla="*/ 76 w 97"/>
              <a:gd name="T1" fmla="*/ 157 h 549"/>
              <a:gd name="T2" fmla="*/ 59 w 97"/>
              <a:gd name="T3" fmla="*/ 157 h 549"/>
              <a:gd name="T4" fmla="*/ 59 w 97"/>
              <a:gd name="T5" fmla="*/ 157 h 549"/>
              <a:gd name="T6" fmla="*/ 59 w 97"/>
              <a:gd name="T7" fmla="*/ 11 h 549"/>
              <a:gd name="T8" fmla="*/ 48 w 97"/>
              <a:gd name="T9" fmla="*/ 0 h 549"/>
              <a:gd name="T10" fmla="*/ 37 w 97"/>
              <a:gd name="T11" fmla="*/ 11 h 549"/>
              <a:gd name="T12" fmla="*/ 37 w 97"/>
              <a:gd name="T13" fmla="*/ 157 h 549"/>
              <a:gd name="T14" fmla="*/ 37 w 97"/>
              <a:gd name="T15" fmla="*/ 157 h 549"/>
              <a:gd name="T16" fmla="*/ 21 w 97"/>
              <a:gd name="T17" fmla="*/ 157 h 549"/>
              <a:gd name="T18" fmla="*/ 0 w 97"/>
              <a:gd name="T19" fmla="*/ 178 h 549"/>
              <a:gd name="T20" fmla="*/ 0 w 97"/>
              <a:gd name="T21" fmla="*/ 549 h 549"/>
              <a:gd name="T22" fmla="*/ 97 w 97"/>
              <a:gd name="T23" fmla="*/ 549 h 549"/>
              <a:gd name="T24" fmla="*/ 97 w 97"/>
              <a:gd name="T25" fmla="*/ 178 h 549"/>
              <a:gd name="T26" fmla="*/ 76 w 97"/>
              <a:gd name="T27" fmla="*/ 157 h 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97" h="549">
                <a:moveTo>
                  <a:pt x="76" y="157"/>
                </a:moveTo>
                <a:cubicBezTo>
                  <a:pt x="59" y="157"/>
                  <a:pt x="59" y="157"/>
                  <a:pt x="59" y="157"/>
                </a:cubicBezTo>
                <a:cubicBezTo>
                  <a:pt x="59" y="157"/>
                  <a:pt x="59" y="157"/>
                  <a:pt x="59" y="157"/>
                </a:cubicBezTo>
                <a:cubicBezTo>
                  <a:pt x="59" y="11"/>
                  <a:pt x="59" y="11"/>
                  <a:pt x="59" y="11"/>
                </a:cubicBezTo>
                <a:cubicBezTo>
                  <a:pt x="59" y="5"/>
                  <a:pt x="54" y="0"/>
                  <a:pt x="48" y="0"/>
                </a:cubicBezTo>
                <a:cubicBezTo>
                  <a:pt x="42" y="0"/>
                  <a:pt x="37" y="5"/>
                  <a:pt x="37" y="11"/>
                </a:cubicBezTo>
                <a:cubicBezTo>
                  <a:pt x="37" y="157"/>
                  <a:pt x="37" y="157"/>
                  <a:pt x="37" y="157"/>
                </a:cubicBezTo>
                <a:cubicBezTo>
                  <a:pt x="37" y="157"/>
                  <a:pt x="37" y="157"/>
                  <a:pt x="37" y="157"/>
                </a:cubicBezTo>
                <a:cubicBezTo>
                  <a:pt x="21" y="157"/>
                  <a:pt x="21" y="157"/>
                  <a:pt x="21" y="157"/>
                </a:cubicBezTo>
                <a:cubicBezTo>
                  <a:pt x="9" y="157"/>
                  <a:pt x="0" y="166"/>
                  <a:pt x="0" y="178"/>
                </a:cubicBezTo>
                <a:cubicBezTo>
                  <a:pt x="0" y="549"/>
                  <a:pt x="0" y="549"/>
                  <a:pt x="0" y="549"/>
                </a:cubicBezTo>
                <a:cubicBezTo>
                  <a:pt x="97" y="549"/>
                  <a:pt x="97" y="549"/>
                  <a:pt x="97" y="549"/>
                </a:cubicBezTo>
                <a:cubicBezTo>
                  <a:pt x="97" y="178"/>
                  <a:pt x="97" y="178"/>
                  <a:pt x="97" y="178"/>
                </a:cubicBezTo>
                <a:cubicBezTo>
                  <a:pt x="97" y="166"/>
                  <a:pt x="87" y="157"/>
                  <a:pt x="76" y="157"/>
                </a:cubicBezTo>
                <a:close/>
              </a:path>
            </a:pathLst>
          </a:custGeom>
          <a:solidFill>
            <a:srgbClr val="2E427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1" name="Freeform 35">
            <a:extLst>
              <a:ext uri="{FF2B5EF4-FFF2-40B4-BE49-F238E27FC236}">
                <a16:creationId xmlns="" xmlns:a16="http://schemas.microsoft.com/office/drawing/2014/main" id="{68DB392E-D982-46A8-834E-4C65C3A7A225}"/>
              </a:ext>
            </a:extLst>
          </p:cNvPr>
          <p:cNvSpPr>
            <a:spLocks/>
          </p:cNvSpPr>
          <p:nvPr/>
        </p:nvSpPr>
        <p:spPr bwMode="auto">
          <a:xfrm>
            <a:off x="2428403" y="5128057"/>
            <a:ext cx="178861" cy="448232"/>
          </a:xfrm>
          <a:custGeom>
            <a:avLst/>
            <a:gdLst>
              <a:gd name="T0" fmla="*/ 105 w 149"/>
              <a:gd name="T1" fmla="*/ 16 h 411"/>
              <a:gd name="T2" fmla="*/ 25 w 149"/>
              <a:gd name="T3" fmla="*/ 95 h 411"/>
              <a:gd name="T4" fmla="*/ 0 w 149"/>
              <a:gd name="T5" fmla="*/ 154 h 411"/>
              <a:gd name="T6" fmla="*/ 0 w 149"/>
              <a:gd name="T7" fmla="*/ 411 h 411"/>
              <a:gd name="T8" fmla="*/ 149 w 149"/>
              <a:gd name="T9" fmla="*/ 411 h 411"/>
              <a:gd name="T10" fmla="*/ 149 w 149"/>
              <a:gd name="T11" fmla="*/ 34 h 411"/>
              <a:gd name="T12" fmla="*/ 105 w 149"/>
              <a:gd name="T13" fmla="*/ 16 h 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9" h="411">
                <a:moveTo>
                  <a:pt x="105" y="16"/>
                </a:moveTo>
                <a:cubicBezTo>
                  <a:pt x="25" y="95"/>
                  <a:pt x="25" y="95"/>
                  <a:pt x="25" y="95"/>
                </a:cubicBezTo>
                <a:cubicBezTo>
                  <a:pt x="9" y="110"/>
                  <a:pt x="0" y="132"/>
                  <a:pt x="0" y="154"/>
                </a:cubicBezTo>
                <a:cubicBezTo>
                  <a:pt x="0" y="411"/>
                  <a:pt x="0" y="411"/>
                  <a:pt x="0" y="411"/>
                </a:cubicBezTo>
                <a:cubicBezTo>
                  <a:pt x="149" y="411"/>
                  <a:pt x="149" y="411"/>
                  <a:pt x="149" y="411"/>
                </a:cubicBezTo>
                <a:cubicBezTo>
                  <a:pt x="149" y="34"/>
                  <a:pt x="149" y="34"/>
                  <a:pt x="149" y="34"/>
                </a:cubicBezTo>
                <a:cubicBezTo>
                  <a:pt x="149" y="12"/>
                  <a:pt x="121" y="0"/>
                  <a:pt x="105" y="16"/>
                </a:cubicBezTo>
                <a:close/>
              </a:path>
            </a:pathLst>
          </a:custGeom>
          <a:solidFill>
            <a:srgbClr val="2E427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2" name="Freeform 36">
            <a:extLst>
              <a:ext uri="{FF2B5EF4-FFF2-40B4-BE49-F238E27FC236}">
                <a16:creationId xmlns="" xmlns:a16="http://schemas.microsoft.com/office/drawing/2014/main" id="{A09BA750-37E5-4CA3-8F81-09B9483AAA6A}"/>
              </a:ext>
            </a:extLst>
          </p:cNvPr>
          <p:cNvSpPr>
            <a:spLocks/>
          </p:cNvSpPr>
          <p:nvPr/>
        </p:nvSpPr>
        <p:spPr bwMode="auto">
          <a:xfrm>
            <a:off x="4475806" y="4587310"/>
            <a:ext cx="100510" cy="984676"/>
          </a:xfrm>
          <a:custGeom>
            <a:avLst/>
            <a:gdLst>
              <a:gd name="T0" fmla="*/ 59 w 84"/>
              <a:gd name="T1" fmla="*/ 16 h 903"/>
              <a:gd name="T2" fmla="*/ 14 w 84"/>
              <a:gd name="T3" fmla="*/ 50 h 903"/>
              <a:gd name="T4" fmla="*/ 0 w 84"/>
              <a:gd name="T5" fmla="*/ 110 h 903"/>
              <a:gd name="T6" fmla="*/ 0 w 84"/>
              <a:gd name="T7" fmla="*/ 903 h 903"/>
              <a:gd name="T8" fmla="*/ 84 w 84"/>
              <a:gd name="T9" fmla="*/ 903 h 903"/>
              <a:gd name="T10" fmla="*/ 84 w 84"/>
              <a:gd name="T11" fmla="*/ 34 h 903"/>
              <a:gd name="T12" fmla="*/ 59 w 84"/>
              <a:gd name="T13" fmla="*/ 16 h 9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4" h="903">
                <a:moveTo>
                  <a:pt x="59" y="16"/>
                </a:moveTo>
                <a:cubicBezTo>
                  <a:pt x="14" y="50"/>
                  <a:pt x="14" y="50"/>
                  <a:pt x="14" y="50"/>
                </a:cubicBezTo>
                <a:cubicBezTo>
                  <a:pt x="5" y="66"/>
                  <a:pt x="0" y="87"/>
                  <a:pt x="0" y="110"/>
                </a:cubicBezTo>
                <a:cubicBezTo>
                  <a:pt x="0" y="903"/>
                  <a:pt x="0" y="903"/>
                  <a:pt x="0" y="903"/>
                </a:cubicBezTo>
                <a:cubicBezTo>
                  <a:pt x="84" y="903"/>
                  <a:pt x="84" y="903"/>
                  <a:pt x="84" y="903"/>
                </a:cubicBezTo>
                <a:cubicBezTo>
                  <a:pt x="84" y="34"/>
                  <a:pt x="84" y="34"/>
                  <a:pt x="84" y="34"/>
                </a:cubicBezTo>
                <a:cubicBezTo>
                  <a:pt x="84" y="11"/>
                  <a:pt x="68" y="0"/>
                  <a:pt x="59" y="16"/>
                </a:cubicBezTo>
                <a:close/>
              </a:path>
            </a:pathLst>
          </a:custGeom>
          <a:solidFill>
            <a:srgbClr val="2E427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="" xmlns:a16="http://schemas.microsoft.com/office/drawing/2014/main" id="{99475A3E-34B6-4A53-8528-389E9B9E8C89}"/>
              </a:ext>
            </a:extLst>
          </p:cNvPr>
          <p:cNvGrpSpPr/>
          <p:nvPr/>
        </p:nvGrpSpPr>
        <p:grpSpPr>
          <a:xfrm>
            <a:off x="2944409" y="4768038"/>
            <a:ext cx="191524" cy="803949"/>
            <a:chOff x="-8156242" y="3330580"/>
            <a:chExt cx="384176" cy="1779591"/>
          </a:xfrm>
          <a:solidFill>
            <a:srgbClr val="000000">
              <a:alpha val="10196"/>
            </a:srgbClr>
          </a:solidFill>
        </p:grpSpPr>
        <p:sp>
          <p:nvSpPr>
            <p:cNvPr id="44" name="Freeform 37">
              <a:extLst>
                <a:ext uri="{FF2B5EF4-FFF2-40B4-BE49-F238E27FC236}">
                  <a16:creationId xmlns="" xmlns:a16="http://schemas.microsoft.com/office/drawing/2014/main" id="{CD0AA313-3AE7-4A7D-A49F-7A3A5CEFAE56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6242" y="3330580"/>
              <a:ext cx="384176" cy="53975"/>
            </a:xfrm>
            <a:custGeom>
              <a:avLst/>
              <a:gdLst>
                <a:gd name="T0" fmla="*/ 149 w 160"/>
                <a:gd name="T1" fmla="*/ 0 h 22"/>
                <a:gd name="T2" fmla="*/ 11 w 160"/>
                <a:gd name="T3" fmla="*/ 0 h 22"/>
                <a:gd name="T4" fmla="*/ 0 w 160"/>
                <a:gd name="T5" fmla="*/ 11 h 22"/>
                <a:gd name="T6" fmla="*/ 11 w 160"/>
                <a:gd name="T7" fmla="*/ 22 h 22"/>
                <a:gd name="T8" fmla="*/ 149 w 160"/>
                <a:gd name="T9" fmla="*/ 22 h 22"/>
                <a:gd name="T10" fmla="*/ 160 w 160"/>
                <a:gd name="T11" fmla="*/ 11 h 22"/>
                <a:gd name="T12" fmla="*/ 149 w 16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">
                  <a:moveTo>
                    <a:pt x="14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5" y="22"/>
                    <a:pt x="160" y="17"/>
                    <a:pt x="160" y="11"/>
                  </a:cubicBezTo>
                  <a:cubicBezTo>
                    <a:pt x="160" y="5"/>
                    <a:pt x="155" y="0"/>
                    <a:pt x="149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5" name="Freeform 38">
              <a:extLst>
                <a:ext uri="{FF2B5EF4-FFF2-40B4-BE49-F238E27FC236}">
                  <a16:creationId xmlns="" xmlns:a16="http://schemas.microsoft.com/office/drawing/2014/main" id="{96471982-3858-41B7-9231-D29057706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6242" y="3446468"/>
              <a:ext cx="384176" cy="53975"/>
            </a:xfrm>
            <a:custGeom>
              <a:avLst/>
              <a:gdLst>
                <a:gd name="T0" fmla="*/ 149 w 160"/>
                <a:gd name="T1" fmla="*/ 0 h 22"/>
                <a:gd name="T2" fmla="*/ 11 w 160"/>
                <a:gd name="T3" fmla="*/ 0 h 22"/>
                <a:gd name="T4" fmla="*/ 0 w 160"/>
                <a:gd name="T5" fmla="*/ 11 h 22"/>
                <a:gd name="T6" fmla="*/ 11 w 160"/>
                <a:gd name="T7" fmla="*/ 22 h 22"/>
                <a:gd name="T8" fmla="*/ 149 w 160"/>
                <a:gd name="T9" fmla="*/ 22 h 22"/>
                <a:gd name="T10" fmla="*/ 160 w 160"/>
                <a:gd name="T11" fmla="*/ 11 h 22"/>
                <a:gd name="T12" fmla="*/ 149 w 16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">
                  <a:moveTo>
                    <a:pt x="14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5" y="22"/>
                    <a:pt x="160" y="17"/>
                    <a:pt x="160" y="11"/>
                  </a:cubicBezTo>
                  <a:cubicBezTo>
                    <a:pt x="160" y="5"/>
                    <a:pt x="155" y="0"/>
                    <a:pt x="149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6" name="Freeform 39">
              <a:extLst>
                <a:ext uri="{FF2B5EF4-FFF2-40B4-BE49-F238E27FC236}">
                  <a16:creationId xmlns="" xmlns:a16="http://schemas.microsoft.com/office/drawing/2014/main" id="{7FA8408F-4B65-4E0C-BA0D-E0293F713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6242" y="3560768"/>
              <a:ext cx="384176" cy="52388"/>
            </a:xfrm>
            <a:custGeom>
              <a:avLst/>
              <a:gdLst>
                <a:gd name="T0" fmla="*/ 149 w 160"/>
                <a:gd name="T1" fmla="*/ 0 h 22"/>
                <a:gd name="T2" fmla="*/ 11 w 160"/>
                <a:gd name="T3" fmla="*/ 0 h 22"/>
                <a:gd name="T4" fmla="*/ 0 w 160"/>
                <a:gd name="T5" fmla="*/ 11 h 22"/>
                <a:gd name="T6" fmla="*/ 11 w 160"/>
                <a:gd name="T7" fmla="*/ 22 h 22"/>
                <a:gd name="T8" fmla="*/ 149 w 160"/>
                <a:gd name="T9" fmla="*/ 22 h 22"/>
                <a:gd name="T10" fmla="*/ 160 w 160"/>
                <a:gd name="T11" fmla="*/ 11 h 22"/>
                <a:gd name="T12" fmla="*/ 149 w 16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">
                  <a:moveTo>
                    <a:pt x="14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5" y="22"/>
                    <a:pt x="160" y="17"/>
                    <a:pt x="160" y="11"/>
                  </a:cubicBezTo>
                  <a:cubicBezTo>
                    <a:pt x="160" y="5"/>
                    <a:pt x="155" y="0"/>
                    <a:pt x="149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7" name="Freeform 40">
              <a:extLst>
                <a:ext uri="{FF2B5EF4-FFF2-40B4-BE49-F238E27FC236}">
                  <a16:creationId xmlns="" xmlns:a16="http://schemas.microsoft.com/office/drawing/2014/main" id="{950F04F1-31CA-4992-A4B5-B86C7C244AAB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6242" y="3676655"/>
              <a:ext cx="384176" cy="52388"/>
            </a:xfrm>
            <a:custGeom>
              <a:avLst/>
              <a:gdLst>
                <a:gd name="T0" fmla="*/ 149 w 160"/>
                <a:gd name="T1" fmla="*/ 0 h 22"/>
                <a:gd name="T2" fmla="*/ 11 w 160"/>
                <a:gd name="T3" fmla="*/ 0 h 22"/>
                <a:gd name="T4" fmla="*/ 0 w 160"/>
                <a:gd name="T5" fmla="*/ 11 h 22"/>
                <a:gd name="T6" fmla="*/ 11 w 160"/>
                <a:gd name="T7" fmla="*/ 22 h 22"/>
                <a:gd name="T8" fmla="*/ 149 w 160"/>
                <a:gd name="T9" fmla="*/ 22 h 22"/>
                <a:gd name="T10" fmla="*/ 160 w 160"/>
                <a:gd name="T11" fmla="*/ 11 h 22"/>
                <a:gd name="T12" fmla="*/ 149 w 16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">
                  <a:moveTo>
                    <a:pt x="14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5" y="22"/>
                    <a:pt x="160" y="17"/>
                    <a:pt x="160" y="11"/>
                  </a:cubicBezTo>
                  <a:cubicBezTo>
                    <a:pt x="160" y="5"/>
                    <a:pt x="155" y="0"/>
                    <a:pt x="149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8" name="Freeform 41">
              <a:extLst>
                <a:ext uri="{FF2B5EF4-FFF2-40B4-BE49-F238E27FC236}">
                  <a16:creationId xmlns="" xmlns:a16="http://schemas.microsoft.com/office/drawing/2014/main" id="{3E89CD5E-9C52-4F84-B7BE-43CDB06D5D69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6242" y="3792543"/>
              <a:ext cx="384176" cy="52388"/>
            </a:xfrm>
            <a:custGeom>
              <a:avLst/>
              <a:gdLst>
                <a:gd name="T0" fmla="*/ 149 w 160"/>
                <a:gd name="T1" fmla="*/ 0 h 22"/>
                <a:gd name="T2" fmla="*/ 11 w 160"/>
                <a:gd name="T3" fmla="*/ 0 h 22"/>
                <a:gd name="T4" fmla="*/ 0 w 160"/>
                <a:gd name="T5" fmla="*/ 11 h 22"/>
                <a:gd name="T6" fmla="*/ 11 w 160"/>
                <a:gd name="T7" fmla="*/ 22 h 22"/>
                <a:gd name="T8" fmla="*/ 149 w 160"/>
                <a:gd name="T9" fmla="*/ 22 h 22"/>
                <a:gd name="T10" fmla="*/ 160 w 160"/>
                <a:gd name="T11" fmla="*/ 11 h 22"/>
                <a:gd name="T12" fmla="*/ 149 w 16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">
                  <a:moveTo>
                    <a:pt x="14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5" y="22"/>
                    <a:pt x="160" y="17"/>
                    <a:pt x="160" y="11"/>
                  </a:cubicBezTo>
                  <a:cubicBezTo>
                    <a:pt x="160" y="5"/>
                    <a:pt x="155" y="0"/>
                    <a:pt x="149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9" name="Freeform 42">
              <a:extLst>
                <a:ext uri="{FF2B5EF4-FFF2-40B4-BE49-F238E27FC236}">
                  <a16:creationId xmlns="" xmlns:a16="http://schemas.microsoft.com/office/drawing/2014/main" id="{F4DF7C93-3A8F-4470-8FD7-B0C323578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6242" y="3905256"/>
              <a:ext cx="384176" cy="53975"/>
            </a:xfrm>
            <a:custGeom>
              <a:avLst/>
              <a:gdLst>
                <a:gd name="T0" fmla="*/ 149 w 160"/>
                <a:gd name="T1" fmla="*/ 0 h 22"/>
                <a:gd name="T2" fmla="*/ 11 w 160"/>
                <a:gd name="T3" fmla="*/ 0 h 22"/>
                <a:gd name="T4" fmla="*/ 0 w 160"/>
                <a:gd name="T5" fmla="*/ 11 h 22"/>
                <a:gd name="T6" fmla="*/ 11 w 160"/>
                <a:gd name="T7" fmla="*/ 22 h 22"/>
                <a:gd name="T8" fmla="*/ 149 w 160"/>
                <a:gd name="T9" fmla="*/ 22 h 22"/>
                <a:gd name="T10" fmla="*/ 160 w 160"/>
                <a:gd name="T11" fmla="*/ 11 h 22"/>
                <a:gd name="T12" fmla="*/ 149 w 16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">
                  <a:moveTo>
                    <a:pt x="14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5" y="22"/>
                    <a:pt x="160" y="17"/>
                    <a:pt x="160" y="11"/>
                  </a:cubicBezTo>
                  <a:cubicBezTo>
                    <a:pt x="160" y="5"/>
                    <a:pt x="155" y="0"/>
                    <a:pt x="149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0" name="Freeform 43">
              <a:extLst>
                <a:ext uri="{FF2B5EF4-FFF2-40B4-BE49-F238E27FC236}">
                  <a16:creationId xmlns="" xmlns:a16="http://schemas.microsoft.com/office/drawing/2014/main" id="{65F1EC85-BEF8-449B-BEA2-D91938F2E5A7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6242" y="4021144"/>
              <a:ext cx="384176" cy="53975"/>
            </a:xfrm>
            <a:custGeom>
              <a:avLst/>
              <a:gdLst>
                <a:gd name="T0" fmla="*/ 149 w 160"/>
                <a:gd name="T1" fmla="*/ 0 h 22"/>
                <a:gd name="T2" fmla="*/ 11 w 160"/>
                <a:gd name="T3" fmla="*/ 0 h 22"/>
                <a:gd name="T4" fmla="*/ 0 w 160"/>
                <a:gd name="T5" fmla="*/ 11 h 22"/>
                <a:gd name="T6" fmla="*/ 11 w 160"/>
                <a:gd name="T7" fmla="*/ 22 h 22"/>
                <a:gd name="T8" fmla="*/ 149 w 160"/>
                <a:gd name="T9" fmla="*/ 22 h 22"/>
                <a:gd name="T10" fmla="*/ 160 w 160"/>
                <a:gd name="T11" fmla="*/ 11 h 22"/>
                <a:gd name="T12" fmla="*/ 149 w 16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">
                  <a:moveTo>
                    <a:pt x="14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5" y="22"/>
                    <a:pt x="160" y="17"/>
                    <a:pt x="160" y="11"/>
                  </a:cubicBezTo>
                  <a:cubicBezTo>
                    <a:pt x="160" y="5"/>
                    <a:pt x="155" y="0"/>
                    <a:pt x="149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1" name="Freeform 44">
              <a:extLst>
                <a:ext uri="{FF2B5EF4-FFF2-40B4-BE49-F238E27FC236}">
                  <a16:creationId xmlns="" xmlns:a16="http://schemas.microsoft.com/office/drawing/2014/main" id="{E3E5B150-7A3A-4DA6-A14C-F881E7E9E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6242" y="4137031"/>
              <a:ext cx="384176" cy="53975"/>
            </a:xfrm>
            <a:custGeom>
              <a:avLst/>
              <a:gdLst>
                <a:gd name="T0" fmla="*/ 149 w 160"/>
                <a:gd name="T1" fmla="*/ 0 h 22"/>
                <a:gd name="T2" fmla="*/ 11 w 160"/>
                <a:gd name="T3" fmla="*/ 0 h 22"/>
                <a:gd name="T4" fmla="*/ 0 w 160"/>
                <a:gd name="T5" fmla="*/ 11 h 22"/>
                <a:gd name="T6" fmla="*/ 11 w 160"/>
                <a:gd name="T7" fmla="*/ 22 h 22"/>
                <a:gd name="T8" fmla="*/ 149 w 160"/>
                <a:gd name="T9" fmla="*/ 22 h 22"/>
                <a:gd name="T10" fmla="*/ 160 w 160"/>
                <a:gd name="T11" fmla="*/ 11 h 22"/>
                <a:gd name="T12" fmla="*/ 149 w 16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">
                  <a:moveTo>
                    <a:pt x="14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5" y="22"/>
                    <a:pt x="160" y="17"/>
                    <a:pt x="160" y="11"/>
                  </a:cubicBezTo>
                  <a:cubicBezTo>
                    <a:pt x="160" y="5"/>
                    <a:pt x="155" y="0"/>
                    <a:pt x="149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2" name="Freeform 45">
              <a:extLst>
                <a:ext uri="{FF2B5EF4-FFF2-40B4-BE49-F238E27FC236}">
                  <a16:creationId xmlns="" xmlns:a16="http://schemas.microsoft.com/office/drawing/2014/main" id="{9EC1B49B-32D9-4226-84CB-F8AA6AA4AC1D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6242" y="4251331"/>
              <a:ext cx="384176" cy="52388"/>
            </a:xfrm>
            <a:custGeom>
              <a:avLst/>
              <a:gdLst>
                <a:gd name="T0" fmla="*/ 149 w 160"/>
                <a:gd name="T1" fmla="*/ 0 h 22"/>
                <a:gd name="T2" fmla="*/ 11 w 160"/>
                <a:gd name="T3" fmla="*/ 0 h 22"/>
                <a:gd name="T4" fmla="*/ 0 w 160"/>
                <a:gd name="T5" fmla="*/ 11 h 22"/>
                <a:gd name="T6" fmla="*/ 11 w 160"/>
                <a:gd name="T7" fmla="*/ 22 h 22"/>
                <a:gd name="T8" fmla="*/ 149 w 160"/>
                <a:gd name="T9" fmla="*/ 22 h 22"/>
                <a:gd name="T10" fmla="*/ 160 w 160"/>
                <a:gd name="T11" fmla="*/ 11 h 22"/>
                <a:gd name="T12" fmla="*/ 149 w 16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">
                  <a:moveTo>
                    <a:pt x="14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5" y="22"/>
                    <a:pt x="160" y="17"/>
                    <a:pt x="160" y="11"/>
                  </a:cubicBezTo>
                  <a:cubicBezTo>
                    <a:pt x="160" y="5"/>
                    <a:pt x="155" y="0"/>
                    <a:pt x="149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3" name="Freeform 46">
              <a:extLst>
                <a:ext uri="{FF2B5EF4-FFF2-40B4-BE49-F238E27FC236}">
                  <a16:creationId xmlns="" xmlns:a16="http://schemas.microsoft.com/office/drawing/2014/main" id="{58DD1F94-3A43-44CB-9BEC-F6090E593A0F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6242" y="4367219"/>
              <a:ext cx="384176" cy="52388"/>
            </a:xfrm>
            <a:custGeom>
              <a:avLst/>
              <a:gdLst>
                <a:gd name="T0" fmla="*/ 149 w 160"/>
                <a:gd name="T1" fmla="*/ 0 h 22"/>
                <a:gd name="T2" fmla="*/ 11 w 160"/>
                <a:gd name="T3" fmla="*/ 0 h 22"/>
                <a:gd name="T4" fmla="*/ 0 w 160"/>
                <a:gd name="T5" fmla="*/ 11 h 22"/>
                <a:gd name="T6" fmla="*/ 11 w 160"/>
                <a:gd name="T7" fmla="*/ 22 h 22"/>
                <a:gd name="T8" fmla="*/ 149 w 160"/>
                <a:gd name="T9" fmla="*/ 22 h 22"/>
                <a:gd name="T10" fmla="*/ 160 w 160"/>
                <a:gd name="T11" fmla="*/ 11 h 22"/>
                <a:gd name="T12" fmla="*/ 149 w 16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">
                  <a:moveTo>
                    <a:pt x="14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5" y="22"/>
                    <a:pt x="160" y="17"/>
                    <a:pt x="160" y="11"/>
                  </a:cubicBezTo>
                  <a:cubicBezTo>
                    <a:pt x="160" y="5"/>
                    <a:pt x="155" y="0"/>
                    <a:pt x="149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4" name="Freeform 47">
              <a:extLst>
                <a:ext uri="{FF2B5EF4-FFF2-40B4-BE49-F238E27FC236}">
                  <a16:creationId xmlns="" xmlns:a16="http://schemas.microsoft.com/office/drawing/2014/main" id="{CEE94530-4CDD-4558-858D-9B69925E65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6242" y="4483107"/>
              <a:ext cx="384176" cy="52388"/>
            </a:xfrm>
            <a:custGeom>
              <a:avLst/>
              <a:gdLst>
                <a:gd name="T0" fmla="*/ 149 w 160"/>
                <a:gd name="T1" fmla="*/ 0 h 22"/>
                <a:gd name="T2" fmla="*/ 11 w 160"/>
                <a:gd name="T3" fmla="*/ 0 h 22"/>
                <a:gd name="T4" fmla="*/ 0 w 160"/>
                <a:gd name="T5" fmla="*/ 11 h 22"/>
                <a:gd name="T6" fmla="*/ 11 w 160"/>
                <a:gd name="T7" fmla="*/ 22 h 22"/>
                <a:gd name="T8" fmla="*/ 149 w 160"/>
                <a:gd name="T9" fmla="*/ 22 h 22"/>
                <a:gd name="T10" fmla="*/ 160 w 160"/>
                <a:gd name="T11" fmla="*/ 11 h 22"/>
                <a:gd name="T12" fmla="*/ 149 w 16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">
                  <a:moveTo>
                    <a:pt x="14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5" y="22"/>
                    <a:pt x="160" y="17"/>
                    <a:pt x="160" y="11"/>
                  </a:cubicBezTo>
                  <a:cubicBezTo>
                    <a:pt x="160" y="5"/>
                    <a:pt x="155" y="0"/>
                    <a:pt x="149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5" name="Freeform 48">
              <a:extLst>
                <a:ext uri="{FF2B5EF4-FFF2-40B4-BE49-F238E27FC236}">
                  <a16:creationId xmlns="" xmlns:a16="http://schemas.microsoft.com/office/drawing/2014/main" id="{9AA4D68B-F08A-46BA-B550-3AC1D16CDAF7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6242" y="4595820"/>
              <a:ext cx="384176" cy="53975"/>
            </a:xfrm>
            <a:custGeom>
              <a:avLst/>
              <a:gdLst>
                <a:gd name="T0" fmla="*/ 149 w 160"/>
                <a:gd name="T1" fmla="*/ 0 h 22"/>
                <a:gd name="T2" fmla="*/ 11 w 160"/>
                <a:gd name="T3" fmla="*/ 0 h 22"/>
                <a:gd name="T4" fmla="*/ 0 w 160"/>
                <a:gd name="T5" fmla="*/ 11 h 22"/>
                <a:gd name="T6" fmla="*/ 11 w 160"/>
                <a:gd name="T7" fmla="*/ 22 h 22"/>
                <a:gd name="T8" fmla="*/ 149 w 160"/>
                <a:gd name="T9" fmla="*/ 22 h 22"/>
                <a:gd name="T10" fmla="*/ 160 w 160"/>
                <a:gd name="T11" fmla="*/ 11 h 22"/>
                <a:gd name="T12" fmla="*/ 149 w 16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">
                  <a:moveTo>
                    <a:pt x="14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5" y="22"/>
                    <a:pt x="160" y="17"/>
                    <a:pt x="160" y="11"/>
                  </a:cubicBezTo>
                  <a:cubicBezTo>
                    <a:pt x="160" y="5"/>
                    <a:pt x="155" y="0"/>
                    <a:pt x="149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6" name="Freeform 49">
              <a:extLst>
                <a:ext uri="{FF2B5EF4-FFF2-40B4-BE49-F238E27FC236}">
                  <a16:creationId xmlns="" xmlns:a16="http://schemas.microsoft.com/office/drawing/2014/main" id="{F2E12B5C-C98E-45CE-BFC2-D2D1DFD279BB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6242" y="4711707"/>
              <a:ext cx="384176" cy="53975"/>
            </a:xfrm>
            <a:custGeom>
              <a:avLst/>
              <a:gdLst>
                <a:gd name="T0" fmla="*/ 149 w 160"/>
                <a:gd name="T1" fmla="*/ 0 h 22"/>
                <a:gd name="T2" fmla="*/ 11 w 160"/>
                <a:gd name="T3" fmla="*/ 0 h 22"/>
                <a:gd name="T4" fmla="*/ 0 w 160"/>
                <a:gd name="T5" fmla="*/ 11 h 22"/>
                <a:gd name="T6" fmla="*/ 11 w 160"/>
                <a:gd name="T7" fmla="*/ 22 h 22"/>
                <a:gd name="T8" fmla="*/ 149 w 160"/>
                <a:gd name="T9" fmla="*/ 22 h 22"/>
                <a:gd name="T10" fmla="*/ 160 w 160"/>
                <a:gd name="T11" fmla="*/ 11 h 22"/>
                <a:gd name="T12" fmla="*/ 149 w 16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">
                  <a:moveTo>
                    <a:pt x="14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5" y="22"/>
                    <a:pt x="160" y="17"/>
                    <a:pt x="160" y="11"/>
                  </a:cubicBezTo>
                  <a:cubicBezTo>
                    <a:pt x="160" y="5"/>
                    <a:pt x="155" y="0"/>
                    <a:pt x="149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7" name="Freeform 50">
              <a:extLst>
                <a:ext uri="{FF2B5EF4-FFF2-40B4-BE49-F238E27FC236}">
                  <a16:creationId xmlns="" xmlns:a16="http://schemas.microsoft.com/office/drawing/2014/main" id="{34BF6910-100F-4CDB-8DB0-20308642CB51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6242" y="4827595"/>
              <a:ext cx="384176" cy="53975"/>
            </a:xfrm>
            <a:custGeom>
              <a:avLst/>
              <a:gdLst>
                <a:gd name="T0" fmla="*/ 149 w 160"/>
                <a:gd name="T1" fmla="*/ 0 h 22"/>
                <a:gd name="T2" fmla="*/ 11 w 160"/>
                <a:gd name="T3" fmla="*/ 0 h 22"/>
                <a:gd name="T4" fmla="*/ 0 w 160"/>
                <a:gd name="T5" fmla="*/ 11 h 22"/>
                <a:gd name="T6" fmla="*/ 11 w 160"/>
                <a:gd name="T7" fmla="*/ 22 h 22"/>
                <a:gd name="T8" fmla="*/ 149 w 160"/>
                <a:gd name="T9" fmla="*/ 22 h 22"/>
                <a:gd name="T10" fmla="*/ 160 w 160"/>
                <a:gd name="T11" fmla="*/ 11 h 22"/>
                <a:gd name="T12" fmla="*/ 149 w 16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">
                  <a:moveTo>
                    <a:pt x="14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5" y="22"/>
                    <a:pt x="160" y="17"/>
                    <a:pt x="160" y="11"/>
                  </a:cubicBezTo>
                  <a:cubicBezTo>
                    <a:pt x="160" y="5"/>
                    <a:pt x="155" y="0"/>
                    <a:pt x="149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8" name="Freeform 51">
              <a:extLst>
                <a:ext uri="{FF2B5EF4-FFF2-40B4-BE49-F238E27FC236}">
                  <a16:creationId xmlns="" xmlns:a16="http://schemas.microsoft.com/office/drawing/2014/main" id="{570C45DB-B7D5-4739-8A9D-8CE6CF874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6242" y="4941895"/>
              <a:ext cx="384176" cy="52388"/>
            </a:xfrm>
            <a:custGeom>
              <a:avLst/>
              <a:gdLst>
                <a:gd name="T0" fmla="*/ 149 w 160"/>
                <a:gd name="T1" fmla="*/ 0 h 22"/>
                <a:gd name="T2" fmla="*/ 11 w 160"/>
                <a:gd name="T3" fmla="*/ 0 h 22"/>
                <a:gd name="T4" fmla="*/ 0 w 160"/>
                <a:gd name="T5" fmla="*/ 11 h 22"/>
                <a:gd name="T6" fmla="*/ 11 w 160"/>
                <a:gd name="T7" fmla="*/ 22 h 22"/>
                <a:gd name="T8" fmla="*/ 149 w 160"/>
                <a:gd name="T9" fmla="*/ 22 h 22"/>
                <a:gd name="T10" fmla="*/ 160 w 160"/>
                <a:gd name="T11" fmla="*/ 11 h 22"/>
                <a:gd name="T12" fmla="*/ 149 w 16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">
                  <a:moveTo>
                    <a:pt x="14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5" y="22"/>
                    <a:pt x="160" y="17"/>
                    <a:pt x="160" y="11"/>
                  </a:cubicBezTo>
                  <a:cubicBezTo>
                    <a:pt x="160" y="5"/>
                    <a:pt x="155" y="0"/>
                    <a:pt x="149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59" name="Freeform 52">
              <a:extLst>
                <a:ext uri="{FF2B5EF4-FFF2-40B4-BE49-F238E27FC236}">
                  <a16:creationId xmlns="" xmlns:a16="http://schemas.microsoft.com/office/drawing/2014/main" id="{FB5D9EE4-1274-4478-B53E-00B104AD26FE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6242" y="5057783"/>
              <a:ext cx="384176" cy="52388"/>
            </a:xfrm>
            <a:custGeom>
              <a:avLst/>
              <a:gdLst>
                <a:gd name="T0" fmla="*/ 149 w 160"/>
                <a:gd name="T1" fmla="*/ 0 h 22"/>
                <a:gd name="T2" fmla="*/ 11 w 160"/>
                <a:gd name="T3" fmla="*/ 0 h 22"/>
                <a:gd name="T4" fmla="*/ 0 w 160"/>
                <a:gd name="T5" fmla="*/ 11 h 22"/>
                <a:gd name="T6" fmla="*/ 11 w 160"/>
                <a:gd name="T7" fmla="*/ 22 h 22"/>
                <a:gd name="T8" fmla="*/ 149 w 160"/>
                <a:gd name="T9" fmla="*/ 22 h 22"/>
                <a:gd name="T10" fmla="*/ 160 w 160"/>
                <a:gd name="T11" fmla="*/ 11 h 22"/>
                <a:gd name="T12" fmla="*/ 149 w 16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">
                  <a:moveTo>
                    <a:pt x="14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5" y="22"/>
                    <a:pt x="160" y="17"/>
                    <a:pt x="160" y="11"/>
                  </a:cubicBezTo>
                  <a:cubicBezTo>
                    <a:pt x="160" y="5"/>
                    <a:pt x="155" y="0"/>
                    <a:pt x="149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="" xmlns:a16="http://schemas.microsoft.com/office/drawing/2014/main" id="{DBC6AD01-C875-4D06-A23B-B1A1C5A0C15A}"/>
              </a:ext>
            </a:extLst>
          </p:cNvPr>
          <p:cNvGrpSpPr/>
          <p:nvPr/>
        </p:nvGrpSpPr>
        <p:grpSpPr>
          <a:xfrm>
            <a:off x="5086782" y="4753694"/>
            <a:ext cx="95762" cy="804666"/>
            <a:chOff x="-3858872" y="3298830"/>
            <a:chExt cx="192088" cy="1781178"/>
          </a:xfrm>
          <a:solidFill>
            <a:srgbClr val="000000">
              <a:alpha val="10196"/>
            </a:srgbClr>
          </a:solidFill>
        </p:grpSpPr>
        <p:sp>
          <p:nvSpPr>
            <p:cNvPr id="61" name="Freeform 53">
              <a:extLst>
                <a:ext uri="{FF2B5EF4-FFF2-40B4-BE49-F238E27FC236}">
                  <a16:creationId xmlns="" xmlns:a16="http://schemas.microsoft.com/office/drawing/2014/main" id="{8A991D13-577D-478B-845D-8A11034DD3E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872" y="3298830"/>
              <a:ext cx="192088" cy="53975"/>
            </a:xfrm>
            <a:custGeom>
              <a:avLst/>
              <a:gdLst>
                <a:gd name="T0" fmla="*/ 74 w 80"/>
                <a:gd name="T1" fmla="*/ 0 h 22"/>
                <a:gd name="T2" fmla="*/ 5 w 80"/>
                <a:gd name="T3" fmla="*/ 0 h 22"/>
                <a:gd name="T4" fmla="*/ 0 w 80"/>
                <a:gd name="T5" fmla="*/ 11 h 22"/>
                <a:gd name="T6" fmla="*/ 5 w 80"/>
                <a:gd name="T7" fmla="*/ 22 h 22"/>
                <a:gd name="T8" fmla="*/ 74 w 80"/>
                <a:gd name="T9" fmla="*/ 22 h 22"/>
                <a:gd name="T10" fmla="*/ 80 w 80"/>
                <a:gd name="T11" fmla="*/ 11 h 22"/>
                <a:gd name="T12" fmla="*/ 74 w 8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2">
                  <a:moveTo>
                    <a:pt x="7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5"/>
                    <a:pt x="0" y="11"/>
                  </a:cubicBezTo>
                  <a:cubicBezTo>
                    <a:pt x="0" y="17"/>
                    <a:pt x="2" y="22"/>
                    <a:pt x="5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7" y="22"/>
                    <a:pt x="80" y="17"/>
                    <a:pt x="80" y="11"/>
                  </a:cubicBezTo>
                  <a:cubicBezTo>
                    <a:pt x="80" y="5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2" name="Freeform 54">
              <a:extLst>
                <a:ext uri="{FF2B5EF4-FFF2-40B4-BE49-F238E27FC236}">
                  <a16:creationId xmlns="" xmlns:a16="http://schemas.microsoft.com/office/drawing/2014/main" id="{30229A01-7F61-4C0D-B4A1-E903C9B8A10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872" y="3414717"/>
              <a:ext cx="192088" cy="53975"/>
            </a:xfrm>
            <a:custGeom>
              <a:avLst/>
              <a:gdLst>
                <a:gd name="T0" fmla="*/ 74 w 80"/>
                <a:gd name="T1" fmla="*/ 0 h 22"/>
                <a:gd name="T2" fmla="*/ 5 w 80"/>
                <a:gd name="T3" fmla="*/ 0 h 22"/>
                <a:gd name="T4" fmla="*/ 0 w 80"/>
                <a:gd name="T5" fmla="*/ 11 h 22"/>
                <a:gd name="T6" fmla="*/ 5 w 80"/>
                <a:gd name="T7" fmla="*/ 22 h 22"/>
                <a:gd name="T8" fmla="*/ 74 w 80"/>
                <a:gd name="T9" fmla="*/ 22 h 22"/>
                <a:gd name="T10" fmla="*/ 80 w 80"/>
                <a:gd name="T11" fmla="*/ 11 h 22"/>
                <a:gd name="T12" fmla="*/ 74 w 8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2">
                  <a:moveTo>
                    <a:pt x="7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5"/>
                    <a:pt x="0" y="11"/>
                  </a:cubicBezTo>
                  <a:cubicBezTo>
                    <a:pt x="0" y="17"/>
                    <a:pt x="2" y="22"/>
                    <a:pt x="5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7" y="22"/>
                    <a:pt x="80" y="17"/>
                    <a:pt x="80" y="11"/>
                  </a:cubicBezTo>
                  <a:cubicBezTo>
                    <a:pt x="80" y="5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3" name="Freeform 55">
              <a:extLst>
                <a:ext uri="{FF2B5EF4-FFF2-40B4-BE49-F238E27FC236}">
                  <a16:creationId xmlns="" xmlns:a16="http://schemas.microsoft.com/office/drawing/2014/main" id="{86AB2E4A-2214-497A-9F11-484B4629A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872" y="3532193"/>
              <a:ext cx="192088" cy="49213"/>
            </a:xfrm>
            <a:custGeom>
              <a:avLst/>
              <a:gdLst>
                <a:gd name="T0" fmla="*/ 74 w 80"/>
                <a:gd name="T1" fmla="*/ 0 h 21"/>
                <a:gd name="T2" fmla="*/ 5 w 80"/>
                <a:gd name="T3" fmla="*/ 0 h 21"/>
                <a:gd name="T4" fmla="*/ 0 w 80"/>
                <a:gd name="T5" fmla="*/ 11 h 21"/>
                <a:gd name="T6" fmla="*/ 5 w 80"/>
                <a:gd name="T7" fmla="*/ 21 h 21"/>
                <a:gd name="T8" fmla="*/ 74 w 80"/>
                <a:gd name="T9" fmla="*/ 21 h 21"/>
                <a:gd name="T10" fmla="*/ 80 w 80"/>
                <a:gd name="T11" fmla="*/ 11 h 21"/>
                <a:gd name="T12" fmla="*/ 74 w 80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1">
                  <a:moveTo>
                    <a:pt x="7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4"/>
                    <a:pt x="0" y="11"/>
                  </a:cubicBezTo>
                  <a:cubicBezTo>
                    <a:pt x="0" y="17"/>
                    <a:pt x="2" y="21"/>
                    <a:pt x="5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7" y="21"/>
                    <a:pt x="80" y="17"/>
                    <a:pt x="80" y="11"/>
                  </a:cubicBezTo>
                  <a:cubicBezTo>
                    <a:pt x="80" y="4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4" name="Freeform 56">
              <a:extLst>
                <a:ext uri="{FF2B5EF4-FFF2-40B4-BE49-F238E27FC236}">
                  <a16:creationId xmlns="" xmlns:a16="http://schemas.microsoft.com/office/drawing/2014/main" id="{ED4EF1B2-EC69-44C8-A78C-9D22C1D7637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872" y="3644905"/>
              <a:ext cx="192088" cy="52388"/>
            </a:xfrm>
            <a:custGeom>
              <a:avLst/>
              <a:gdLst>
                <a:gd name="T0" fmla="*/ 74 w 80"/>
                <a:gd name="T1" fmla="*/ 0 h 22"/>
                <a:gd name="T2" fmla="*/ 5 w 80"/>
                <a:gd name="T3" fmla="*/ 0 h 22"/>
                <a:gd name="T4" fmla="*/ 0 w 80"/>
                <a:gd name="T5" fmla="*/ 11 h 22"/>
                <a:gd name="T6" fmla="*/ 5 w 80"/>
                <a:gd name="T7" fmla="*/ 22 h 22"/>
                <a:gd name="T8" fmla="*/ 74 w 80"/>
                <a:gd name="T9" fmla="*/ 22 h 22"/>
                <a:gd name="T10" fmla="*/ 80 w 80"/>
                <a:gd name="T11" fmla="*/ 11 h 22"/>
                <a:gd name="T12" fmla="*/ 74 w 8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2">
                  <a:moveTo>
                    <a:pt x="7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5"/>
                    <a:pt x="0" y="11"/>
                  </a:cubicBezTo>
                  <a:cubicBezTo>
                    <a:pt x="0" y="17"/>
                    <a:pt x="2" y="22"/>
                    <a:pt x="5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7" y="22"/>
                    <a:pt x="80" y="17"/>
                    <a:pt x="80" y="11"/>
                  </a:cubicBezTo>
                  <a:cubicBezTo>
                    <a:pt x="80" y="5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5" name="Freeform 57">
              <a:extLst>
                <a:ext uri="{FF2B5EF4-FFF2-40B4-BE49-F238E27FC236}">
                  <a16:creationId xmlns="" xmlns:a16="http://schemas.microsoft.com/office/drawing/2014/main" id="{E8215A3D-8267-4264-976C-F3E122E44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872" y="3760793"/>
              <a:ext cx="192088" cy="52388"/>
            </a:xfrm>
            <a:custGeom>
              <a:avLst/>
              <a:gdLst>
                <a:gd name="T0" fmla="*/ 74 w 80"/>
                <a:gd name="T1" fmla="*/ 0 h 22"/>
                <a:gd name="T2" fmla="*/ 5 w 80"/>
                <a:gd name="T3" fmla="*/ 0 h 22"/>
                <a:gd name="T4" fmla="*/ 0 w 80"/>
                <a:gd name="T5" fmla="*/ 11 h 22"/>
                <a:gd name="T6" fmla="*/ 5 w 80"/>
                <a:gd name="T7" fmla="*/ 22 h 22"/>
                <a:gd name="T8" fmla="*/ 74 w 80"/>
                <a:gd name="T9" fmla="*/ 22 h 22"/>
                <a:gd name="T10" fmla="*/ 80 w 80"/>
                <a:gd name="T11" fmla="*/ 11 h 22"/>
                <a:gd name="T12" fmla="*/ 74 w 8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2">
                  <a:moveTo>
                    <a:pt x="7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5"/>
                    <a:pt x="0" y="11"/>
                  </a:cubicBezTo>
                  <a:cubicBezTo>
                    <a:pt x="0" y="17"/>
                    <a:pt x="2" y="22"/>
                    <a:pt x="5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7" y="22"/>
                    <a:pt x="80" y="17"/>
                    <a:pt x="80" y="11"/>
                  </a:cubicBezTo>
                  <a:cubicBezTo>
                    <a:pt x="80" y="5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6" name="Freeform 58">
              <a:extLst>
                <a:ext uri="{FF2B5EF4-FFF2-40B4-BE49-F238E27FC236}">
                  <a16:creationId xmlns="" xmlns:a16="http://schemas.microsoft.com/office/drawing/2014/main" id="{65387B10-F740-44F2-BC07-CECD02837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872" y="3876681"/>
              <a:ext cx="192088" cy="50800"/>
            </a:xfrm>
            <a:custGeom>
              <a:avLst/>
              <a:gdLst>
                <a:gd name="T0" fmla="*/ 74 w 80"/>
                <a:gd name="T1" fmla="*/ 0 h 21"/>
                <a:gd name="T2" fmla="*/ 5 w 80"/>
                <a:gd name="T3" fmla="*/ 0 h 21"/>
                <a:gd name="T4" fmla="*/ 0 w 80"/>
                <a:gd name="T5" fmla="*/ 11 h 21"/>
                <a:gd name="T6" fmla="*/ 5 w 80"/>
                <a:gd name="T7" fmla="*/ 21 h 21"/>
                <a:gd name="T8" fmla="*/ 74 w 80"/>
                <a:gd name="T9" fmla="*/ 21 h 21"/>
                <a:gd name="T10" fmla="*/ 80 w 80"/>
                <a:gd name="T11" fmla="*/ 11 h 21"/>
                <a:gd name="T12" fmla="*/ 74 w 80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1">
                  <a:moveTo>
                    <a:pt x="7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4"/>
                    <a:pt x="0" y="11"/>
                  </a:cubicBezTo>
                  <a:cubicBezTo>
                    <a:pt x="0" y="17"/>
                    <a:pt x="2" y="21"/>
                    <a:pt x="5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7" y="21"/>
                    <a:pt x="80" y="17"/>
                    <a:pt x="80" y="11"/>
                  </a:cubicBezTo>
                  <a:cubicBezTo>
                    <a:pt x="80" y="4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7" name="Freeform 59">
              <a:extLst>
                <a:ext uri="{FF2B5EF4-FFF2-40B4-BE49-F238E27FC236}">
                  <a16:creationId xmlns="" xmlns:a16="http://schemas.microsoft.com/office/drawing/2014/main" id="{8A85091A-DC52-4D32-8DEA-62A283BAF12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872" y="3990981"/>
              <a:ext cx="192088" cy="52388"/>
            </a:xfrm>
            <a:custGeom>
              <a:avLst/>
              <a:gdLst>
                <a:gd name="T0" fmla="*/ 74 w 80"/>
                <a:gd name="T1" fmla="*/ 0 h 22"/>
                <a:gd name="T2" fmla="*/ 5 w 80"/>
                <a:gd name="T3" fmla="*/ 0 h 22"/>
                <a:gd name="T4" fmla="*/ 0 w 80"/>
                <a:gd name="T5" fmla="*/ 11 h 22"/>
                <a:gd name="T6" fmla="*/ 5 w 80"/>
                <a:gd name="T7" fmla="*/ 22 h 22"/>
                <a:gd name="T8" fmla="*/ 74 w 80"/>
                <a:gd name="T9" fmla="*/ 22 h 22"/>
                <a:gd name="T10" fmla="*/ 80 w 80"/>
                <a:gd name="T11" fmla="*/ 11 h 22"/>
                <a:gd name="T12" fmla="*/ 74 w 8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2">
                  <a:moveTo>
                    <a:pt x="7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5"/>
                    <a:pt x="0" y="11"/>
                  </a:cubicBezTo>
                  <a:cubicBezTo>
                    <a:pt x="0" y="17"/>
                    <a:pt x="2" y="22"/>
                    <a:pt x="5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7" y="22"/>
                    <a:pt x="80" y="17"/>
                    <a:pt x="80" y="11"/>
                  </a:cubicBezTo>
                  <a:cubicBezTo>
                    <a:pt x="80" y="5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8" name="Freeform 60">
              <a:extLst>
                <a:ext uri="{FF2B5EF4-FFF2-40B4-BE49-F238E27FC236}">
                  <a16:creationId xmlns="" xmlns:a16="http://schemas.microsoft.com/office/drawing/2014/main" id="{025CE881-A854-49D9-A53E-2A8A5B333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872" y="4106869"/>
              <a:ext cx="192088" cy="52388"/>
            </a:xfrm>
            <a:custGeom>
              <a:avLst/>
              <a:gdLst>
                <a:gd name="T0" fmla="*/ 74 w 80"/>
                <a:gd name="T1" fmla="*/ 0 h 22"/>
                <a:gd name="T2" fmla="*/ 5 w 80"/>
                <a:gd name="T3" fmla="*/ 0 h 22"/>
                <a:gd name="T4" fmla="*/ 0 w 80"/>
                <a:gd name="T5" fmla="*/ 11 h 22"/>
                <a:gd name="T6" fmla="*/ 5 w 80"/>
                <a:gd name="T7" fmla="*/ 22 h 22"/>
                <a:gd name="T8" fmla="*/ 74 w 80"/>
                <a:gd name="T9" fmla="*/ 22 h 22"/>
                <a:gd name="T10" fmla="*/ 80 w 80"/>
                <a:gd name="T11" fmla="*/ 11 h 22"/>
                <a:gd name="T12" fmla="*/ 74 w 8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2">
                  <a:moveTo>
                    <a:pt x="7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5"/>
                    <a:pt x="0" y="11"/>
                  </a:cubicBezTo>
                  <a:cubicBezTo>
                    <a:pt x="0" y="17"/>
                    <a:pt x="2" y="22"/>
                    <a:pt x="5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7" y="22"/>
                    <a:pt x="80" y="17"/>
                    <a:pt x="80" y="11"/>
                  </a:cubicBezTo>
                  <a:cubicBezTo>
                    <a:pt x="80" y="5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69" name="Freeform 61">
              <a:extLst>
                <a:ext uri="{FF2B5EF4-FFF2-40B4-BE49-F238E27FC236}">
                  <a16:creationId xmlns="" xmlns:a16="http://schemas.microsoft.com/office/drawing/2014/main" id="{20F00D18-89E0-42B9-BCBB-712B3427FCF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872" y="4222756"/>
              <a:ext cx="192088" cy="50800"/>
            </a:xfrm>
            <a:custGeom>
              <a:avLst/>
              <a:gdLst>
                <a:gd name="T0" fmla="*/ 74 w 80"/>
                <a:gd name="T1" fmla="*/ 0 h 21"/>
                <a:gd name="T2" fmla="*/ 5 w 80"/>
                <a:gd name="T3" fmla="*/ 0 h 21"/>
                <a:gd name="T4" fmla="*/ 0 w 80"/>
                <a:gd name="T5" fmla="*/ 11 h 21"/>
                <a:gd name="T6" fmla="*/ 5 w 80"/>
                <a:gd name="T7" fmla="*/ 21 h 21"/>
                <a:gd name="T8" fmla="*/ 74 w 80"/>
                <a:gd name="T9" fmla="*/ 21 h 21"/>
                <a:gd name="T10" fmla="*/ 80 w 80"/>
                <a:gd name="T11" fmla="*/ 11 h 21"/>
                <a:gd name="T12" fmla="*/ 74 w 80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1">
                  <a:moveTo>
                    <a:pt x="7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4"/>
                    <a:pt x="0" y="11"/>
                  </a:cubicBezTo>
                  <a:cubicBezTo>
                    <a:pt x="0" y="17"/>
                    <a:pt x="2" y="21"/>
                    <a:pt x="5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7" y="21"/>
                    <a:pt x="80" y="17"/>
                    <a:pt x="80" y="11"/>
                  </a:cubicBezTo>
                  <a:cubicBezTo>
                    <a:pt x="80" y="4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0" name="Freeform 62">
              <a:extLst>
                <a:ext uri="{FF2B5EF4-FFF2-40B4-BE49-F238E27FC236}">
                  <a16:creationId xmlns="" xmlns:a16="http://schemas.microsoft.com/office/drawing/2014/main" id="{5A5F6B47-3922-4D21-ADA3-6C1496E3134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872" y="4335469"/>
              <a:ext cx="192088" cy="53975"/>
            </a:xfrm>
            <a:custGeom>
              <a:avLst/>
              <a:gdLst>
                <a:gd name="T0" fmla="*/ 74 w 80"/>
                <a:gd name="T1" fmla="*/ 0 h 22"/>
                <a:gd name="T2" fmla="*/ 5 w 80"/>
                <a:gd name="T3" fmla="*/ 0 h 22"/>
                <a:gd name="T4" fmla="*/ 0 w 80"/>
                <a:gd name="T5" fmla="*/ 11 h 22"/>
                <a:gd name="T6" fmla="*/ 5 w 80"/>
                <a:gd name="T7" fmla="*/ 22 h 22"/>
                <a:gd name="T8" fmla="*/ 74 w 80"/>
                <a:gd name="T9" fmla="*/ 22 h 22"/>
                <a:gd name="T10" fmla="*/ 80 w 80"/>
                <a:gd name="T11" fmla="*/ 11 h 22"/>
                <a:gd name="T12" fmla="*/ 74 w 8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2">
                  <a:moveTo>
                    <a:pt x="7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5"/>
                    <a:pt x="0" y="11"/>
                  </a:cubicBezTo>
                  <a:cubicBezTo>
                    <a:pt x="0" y="17"/>
                    <a:pt x="2" y="22"/>
                    <a:pt x="5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7" y="22"/>
                    <a:pt x="80" y="17"/>
                    <a:pt x="80" y="11"/>
                  </a:cubicBezTo>
                  <a:cubicBezTo>
                    <a:pt x="80" y="5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1" name="Freeform 63">
              <a:extLst>
                <a:ext uri="{FF2B5EF4-FFF2-40B4-BE49-F238E27FC236}">
                  <a16:creationId xmlns="" xmlns:a16="http://schemas.microsoft.com/office/drawing/2014/main" id="{D2EBDB3F-D974-44BB-8B8F-8FE1158A7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872" y="4451357"/>
              <a:ext cx="192088" cy="53975"/>
            </a:xfrm>
            <a:custGeom>
              <a:avLst/>
              <a:gdLst>
                <a:gd name="T0" fmla="*/ 74 w 80"/>
                <a:gd name="T1" fmla="*/ 0 h 22"/>
                <a:gd name="T2" fmla="*/ 5 w 80"/>
                <a:gd name="T3" fmla="*/ 0 h 22"/>
                <a:gd name="T4" fmla="*/ 0 w 80"/>
                <a:gd name="T5" fmla="*/ 11 h 22"/>
                <a:gd name="T6" fmla="*/ 5 w 80"/>
                <a:gd name="T7" fmla="*/ 22 h 22"/>
                <a:gd name="T8" fmla="*/ 74 w 80"/>
                <a:gd name="T9" fmla="*/ 22 h 22"/>
                <a:gd name="T10" fmla="*/ 80 w 80"/>
                <a:gd name="T11" fmla="*/ 11 h 22"/>
                <a:gd name="T12" fmla="*/ 74 w 8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2">
                  <a:moveTo>
                    <a:pt x="7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5"/>
                    <a:pt x="0" y="11"/>
                  </a:cubicBezTo>
                  <a:cubicBezTo>
                    <a:pt x="0" y="17"/>
                    <a:pt x="2" y="22"/>
                    <a:pt x="5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7" y="22"/>
                    <a:pt x="80" y="17"/>
                    <a:pt x="80" y="11"/>
                  </a:cubicBezTo>
                  <a:cubicBezTo>
                    <a:pt x="80" y="5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2" name="Freeform 64">
              <a:extLst>
                <a:ext uri="{FF2B5EF4-FFF2-40B4-BE49-F238E27FC236}">
                  <a16:creationId xmlns="" xmlns:a16="http://schemas.microsoft.com/office/drawing/2014/main" id="{E3DE8CFC-4FE2-4A0B-A85A-60F07F92D98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872" y="4567245"/>
              <a:ext cx="192088" cy="50800"/>
            </a:xfrm>
            <a:custGeom>
              <a:avLst/>
              <a:gdLst>
                <a:gd name="T0" fmla="*/ 74 w 80"/>
                <a:gd name="T1" fmla="*/ 0 h 21"/>
                <a:gd name="T2" fmla="*/ 5 w 80"/>
                <a:gd name="T3" fmla="*/ 0 h 21"/>
                <a:gd name="T4" fmla="*/ 0 w 80"/>
                <a:gd name="T5" fmla="*/ 10 h 21"/>
                <a:gd name="T6" fmla="*/ 5 w 80"/>
                <a:gd name="T7" fmla="*/ 21 h 21"/>
                <a:gd name="T8" fmla="*/ 74 w 80"/>
                <a:gd name="T9" fmla="*/ 21 h 21"/>
                <a:gd name="T10" fmla="*/ 80 w 80"/>
                <a:gd name="T11" fmla="*/ 10 h 21"/>
                <a:gd name="T12" fmla="*/ 74 w 80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1">
                  <a:moveTo>
                    <a:pt x="7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4"/>
                    <a:pt x="0" y="10"/>
                  </a:cubicBezTo>
                  <a:cubicBezTo>
                    <a:pt x="0" y="17"/>
                    <a:pt x="2" y="21"/>
                    <a:pt x="5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7" y="21"/>
                    <a:pt x="80" y="17"/>
                    <a:pt x="80" y="10"/>
                  </a:cubicBezTo>
                  <a:cubicBezTo>
                    <a:pt x="80" y="4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3" name="Freeform 65">
              <a:extLst>
                <a:ext uri="{FF2B5EF4-FFF2-40B4-BE49-F238E27FC236}">
                  <a16:creationId xmlns="" xmlns:a16="http://schemas.microsoft.com/office/drawing/2014/main" id="{AC521E52-7EF5-42EA-9C5F-2716C6071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872" y="4681545"/>
              <a:ext cx="192088" cy="52388"/>
            </a:xfrm>
            <a:custGeom>
              <a:avLst/>
              <a:gdLst>
                <a:gd name="T0" fmla="*/ 74 w 80"/>
                <a:gd name="T1" fmla="*/ 0 h 22"/>
                <a:gd name="T2" fmla="*/ 5 w 80"/>
                <a:gd name="T3" fmla="*/ 0 h 22"/>
                <a:gd name="T4" fmla="*/ 0 w 80"/>
                <a:gd name="T5" fmla="*/ 11 h 22"/>
                <a:gd name="T6" fmla="*/ 5 w 80"/>
                <a:gd name="T7" fmla="*/ 22 h 22"/>
                <a:gd name="T8" fmla="*/ 74 w 80"/>
                <a:gd name="T9" fmla="*/ 22 h 22"/>
                <a:gd name="T10" fmla="*/ 80 w 80"/>
                <a:gd name="T11" fmla="*/ 11 h 22"/>
                <a:gd name="T12" fmla="*/ 74 w 8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2">
                  <a:moveTo>
                    <a:pt x="7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5"/>
                    <a:pt x="0" y="11"/>
                  </a:cubicBezTo>
                  <a:cubicBezTo>
                    <a:pt x="0" y="17"/>
                    <a:pt x="2" y="22"/>
                    <a:pt x="5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7" y="22"/>
                    <a:pt x="80" y="17"/>
                    <a:pt x="80" y="11"/>
                  </a:cubicBezTo>
                  <a:cubicBezTo>
                    <a:pt x="80" y="5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4" name="Freeform 66">
              <a:extLst>
                <a:ext uri="{FF2B5EF4-FFF2-40B4-BE49-F238E27FC236}">
                  <a16:creationId xmlns="" xmlns:a16="http://schemas.microsoft.com/office/drawing/2014/main" id="{CF7018D3-04B9-4039-9C4E-BA891BD29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872" y="4797432"/>
              <a:ext cx="192088" cy="52388"/>
            </a:xfrm>
            <a:custGeom>
              <a:avLst/>
              <a:gdLst>
                <a:gd name="T0" fmla="*/ 74 w 80"/>
                <a:gd name="T1" fmla="*/ 0 h 22"/>
                <a:gd name="T2" fmla="*/ 5 w 80"/>
                <a:gd name="T3" fmla="*/ 0 h 22"/>
                <a:gd name="T4" fmla="*/ 0 w 80"/>
                <a:gd name="T5" fmla="*/ 11 h 22"/>
                <a:gd name="T6" fmla="*/ 5 w 80"/>
                <a:gd name="T7" fmla="*/ 22 h 22"/>
                <a:gd name="T8" fmla="*/ 74 w 80"/>
                <a:gd name="T9" fmla="*/ 22 h 22"/>
                <a:gd name="T10" fmla="*/ 80 w 80"/>
                <a:gd name="T11" fmla="*/ 11 h 22"/>
                <a:gd name="T12" fmla="*/ 74 w 8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2">
                  <a:moveTo>
                    <a:pt x="7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5"/>
                    <a:pt x="0" y="11"/>
                  </a:cubicBezTo>
                  <a:cubicBezTo>
                    <a:pt x="0" y="17"/>
                    <a:pt x="2" y="22"/>
                    <a:pt x="5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7" y="22"/>
                    <a:pt x="80" y="17"/>
                    <a:pt x="80" y="11"/>
                  </a:cubicBezTo>
                  <a:cubicBezTo>
                    <a:pt x="80" y="5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5" name="Freeform 67">
              <a:extLst>
                <a:ext uri="{FF2B5EF4-FFF2-40B4-BE49-F238E27FC236}">
                  <a16:creationId xmlns="" xmlns:a16="http://schemas.microsoft.com/office/drawing/2014/main" id="{4ED177C9-955C-402E-91AA-D52871B2D86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872" y="4913320"/>
              <a:ext cx="192088" cy="50800"/>
            </a:xfrm>
            <a:custGeom>
              <a:avLst/>
              <a:gdLst>
                <a:gd name="T0" fmla="*/ 74 w 80"/>
                <a:gd name="T1" fmla="*/ 0 h 21"/>
                <a:gd name="T2" fmla="*/ 5 w 80"/>
                <a:gd name="T3" fmla="*/ 0 h 21"/>
                <a:gd name="T4" fmla="*/ 0 w 80"/>
                <a:gd name="T5" fmla="*/ 10 h 21"/>
                <a:gd name="T6" fmla="*/ 5 w 80"/>
                <a:gd name="T7" fmla="*/ 21 h 21"/>
                <a:gd name="T8" fmla="*/ 74 w 80"/>
                <a:gd name="T9" fmla="*/ 21 h 21"/>
                <a:gd name="T10" fmla="*/ 80 w 80"/>
                <a:gd name="T11" fmla="*/ 10 h 21"/>
                <a:gd name="T12" fmla="*/ 74 w 80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1">
                  <a:moveTo>
                    <a:pt x="7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4"/>
                    <a:pt x="0" y="10"/>
                  </a:cubicBezTo>
                  <a:cubicBezTo>
                    <a:pt x="0" y="17"/>
                    <a:pt x="2" y="21"/>
                    <a:pt x="5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7" y="21"/>
                    <a:pt x="80" y="17"/>
                    <a:pt x="80" y="10"/>
                  </a:cubicBezTo>
                  <a:cubicBezTo>
                    <a:pt x="80" y="4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6" name="Freeform 68">
              <a:extLst>
                <a:ext uri="{FF2B5EF4-FFF2-40B4-BE49-F238E27FC236}">
                  <a16:creationId xmlns="" xmlns:a16="http://schemas.microsoft.com/office/drawing/2014/main" id="{D8993F92-F779-4219-A873-17BCC635F23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872" y="5026033"/>
              <a:ext cx="192088" cy="53975"/>
            </a:xfrm>
            <a:custGeom>
              <a:avLst/>
              <a:gdLst>
                <a:gd name="T0" fmla="*/ 74 w 80"/>
                <a:gd name="T1" fmla="*/ 0 h 22"/>
                <a:gd name="T2" fmla="*/ 5 w 80"/>
                <a:gd name="T3" fmla="*/ 0 h 22"/>
                <a:gd name="T4" fmla="*/ 0 w 80"/>
                <a:gd name="T5" fmla="*/ 11 h 22"/>
                <a:gd name="T6" fmla="*/ 5 w 80"/>
                <a:gd name="T7" fmla="*/ 22 h 22"/>
                <a:gd name="T8" fmla="*/ 74 w 80"/>
                <a:gd name="T9" fmla="*/ 22 h 22"/>
                <a:gd name="T10" fmla="*/ 80 w 80"/>
                <a:gd name="T11" fmla="*/ 11 h 22"/>
                <a:gd name="T12" fmla="*/ 74 w 8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2">
                  <a:moveTo>
                    <a:pt x="7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5"/>
                    <a:pt x="0" y="11"/>
                  </a:cubicBezTo>
                  <a:cubicBezTo>
                    <a:pt x="0" y="17"/>
                    <a:pt x="2" y="22"/>
                    <a:pt x="5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7" y="22"/>
                    <a:pt x="80" y="17"/>
                    <a:pt x="80" y="11"/>
                  </a:cubicBezTo>
                  <a:cubicBezTo>
                    <a:pt x="80" y="5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="" xmlns:a16="http://schemas.microsoft.com/office/drawing/2014/main" id="{6352C1B5-B1B9-4DF5-A48B-069473589CE6}"/>
              </a:ext>
            </a:extLst>
          </p:cNvPr>
          <p:cNvGrpSpPr/>
          <p:nvPr/>
        </p:nvGrpSpPr>
        <p:grpSpPr>
          <a:xfrm>
            <a:off x="5549763" y="4121149"/>
            <a:ext cx="125836" cy="1437211"/>
            <a:chOff x="-2930183" y="1898652"/>
            <a:chExt cx="252413" cy="3181356"/>
          </a:xfrm>
          <a:solidFill>
            <a:srgbClr val="000000">
              <a:alpha val="10196"/>
            </a:srgbClr>
          </a:solidFill>
        </p:grpSpPr>
        <p:sp>
          <p:nvSpPr>
            <p:cNvPr id="78" name="Freeform 69">
              <a:extLst>
                <a:ext uri="{FF2B5EF4-FFF2-40B4-BE49-F238E27FC236}">
                  <a16:creationId xmlns="" xmlns:a16="http://schemas.microsoft.com/office/drawing/2014/main" id="{DB83181F-5F87-4090-B561-C109D1B30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0183" y="1898652"/>
              <a:ext cx="252413" cy="95250"/>
            </a:xfrm>
            <a:custGeom>
              <a:avLst/>
              <a:gdLst>
                <a:gd name="T0" fmla="*/ 98 w 105"/>
                <a:gd name="T1" fmla="*/ 0 h 39"/>
                <a:gd name="T2" fmla="*/ 7 w 105"/>
                <a:gd name="T3" fmla="*/ 0 h 39"/>
                <a:gd name="T4" fmla="*/ 0 w 105"/>
                <a:gd name="T5" fmla="*/ 20 h 39"/>
                <a:gd name="T6" fmla="*/ 7 w 105"/>
                <a:gd name="T7" fmla="*/ 39 h 39"/>
                <a:gd name="T8" fmla="*/ 98 w 105"/>
                <a:gd name="T9" fmla="*/ 39 h 39"/>
                <a:gd name="T10" fmla="*/ 105 w 105"/>
                <a:gd name="T11" fmla="*/ 20 h 39"/>
                <a:gd name="T12" fmla="*/ 98 w 105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39">
                  <a:moveTo>
                    <a:pt x="9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9"/>
                    <a:pt x="0" y="20"/>
                  </a:cubicBezTo>
                  <a:cubicBezTo>
                    <a:pt x="0" y="31"/>
                    <a:pt x="3" y="39"/>
                    <a:pt x="7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102" y="39"/>
                    <a:pt x="105" y="31"/>
                    <a:pt x="105" y="20"/>
                  </a:cubicBezTo>
                  <a:cubicBezTo>
                    <a:pt x="105" y="9"/>
                    <a:pt x="102" y="0"/>
                    <a:pt x="9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79" name="Freeform 70">
              <a:extLst>
                <a:ext uri="{FF2B5EF4-FFF2-40B4-BE49-F238E27FC236}">
                  <a16:creationId xmlns="" xmlns:a16="http://schemas.microsoft.com/office/drawing/2014/main" id="{1B95DECE-2C74-4A49-B451-4088CE60290F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0183" y="2103440"/>
              <a:ext cx="252413" cy="96838"/>
            </a:xfrm>
            <a:custGeom>
              <a:avLst/>
              <a:gdLst>
                <a:gd name="T0" fmla="*/ 98 w 105"/>
                <a:gd name="T1" fmla="*/ 0 h 40"/>
                <a:gd name="T2" fmla="*/ 7 w 105"/>
                <a:gd name="T3" fmla="*/ 0 h 40"/>
                <a:gd name="T4" fmla="*/ 0 w 105"/>
                <a:gd name="T5" fmla="*/ 20 h 40"/>
                <a:gd name="T6" fmla="*/ 7 w 105"/>
                <a:gd name="T7" fmla="*/ 40 h 40"/>
                <a:gd name="T8" fmla="*/ 98 w 105"/>
                <a:gd name="T9" fmla="*/ 40 h 40"/>
                <a:gd name="T10" fmla="*/ 105 w 105"/>
                <a:gd name="T11" fmla="*/ 20 h 40"/>
                <a:gd name="T12" fmla="*/ 98 w 105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40">
                  <a:moveTo>
                    <a:pt x="9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9"/>
                    <a:pt x="0" y="20"/>
                  </a:cubicBezTo>
                  <a:cubicBezTo>
                    <a:pt x="0" y="31"/>
                    <a:pt x="3" y="40"/>
                    <a:pt x="7" y="40"/>
                  </a:cubicBezTo>
                  <a:cubicBezTo>
                    <a:pt x="98" y="40"/>
                    <a:pt x="98" y="40"/>
                    <a:pt x="98" y="40"/>
                  </a:cubicBezTo>
                  <a:cubicBezTo>
                    <a:pt x="102" y="40"/>
                    <a:pt x="105" y="31"/>
                    <a:pt x="105" y="20"/>
                  </a:cubicBezTo>
                  <a:cubicBezTo>
                    <a:pt x="105" y="9"/>
                    <a:pt x="102" y="0"/>
                    <a:pt x="9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80" name="Freeform 71">
              <a:extLst>
                <a:ext uri="{FF2B5EF4-FFF2-40B4-BE49-F238E27FC236}">
                  <a16:creationId xmlns="" xmlns:a16="http://schemas.microsoft.com/office/drawing/2014/main" id="{0FE55465-4523-4E97-8B4B-9811B99BC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0183" y="2311403"/>
              <a:ext cx="252413" cy="95250"/>
            </a:xfrm>
            <a:custGeom>
              <a:avLst/>
              <a:gdLst>
                <a:gd name="T0" fmla="*/ 98 w 105"/>
                <a:gd name="T1" fmla="*/ 0 h 39"/>
                <a:gd name="T2" fmla="*/ 7 w 105"/>
                <a:gd name="T3" fmla="*/ 0 h 39"/>
                <a:gd name="T4" fmla="*/ 0 w 105"/>
                <a:gd name="T5" fmla="*/ 19 h 39"/>
                <a:gd name="T6" fmla="*/ 7 w 105"/>
                <a:gd name="T7" fmla="*/ 39 h 39"/>
                <a:gd name="T8" fmla="*/ 98 w 105"/>
                <a:gd name="T9" fmla="*/ 39 h 39"/>
                <a:gd name="T10" fmla="*/ 105 w 105"/>
                <a:gd name="T11" fmla="*/ 19 h 39"/>
                <a:gd name="T12" fmla="*/ 98 w 105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39">
                  <a:moveTo>
                    <a:pt x="9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8"/>
                    <a:pt x="0" y="19"/>
                  </a:cubicBezTo>
                  <a:cubicBezTo>
                    <a:pt x="0" y="30"/>
                    <a:pt x="3" y="39"/>
                    <a:pt x="7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102" y="39"/>
                    <a:pt x="105" y="30"/>
                    <a:pt x="105" y="19"/>
                  </a:cubicBezTo>
                  <a:cubicBezTo>
                    <a:pt x="105" y="8"/>
                    <a:pt x="102" y="0"/>
                    <a:pt x="9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81" name="Freeform 72">
              <a:extLst>
                <a:ext uri="{FF2B5EF4-FFF2-40B4-BE49-F238E27FC236}">
                  <a16:creationId xmlns="" xmlns:a16="http://schemas.microsoft.com/office/drawing/2014/main" id="{E090E617-70D6-4B6A-88F4-ECB9CA50758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0183" y="2517778"/>
              <a:ext cx="252413" cy="93663"/>
            </a:xfrm>
            <a:custGeom>
              <a:avLst/>
              <a:gdLst>
                <a:gd name="T0" fmla="*/ 98 w 105"/>
                <a:gd name="T1" fmla="*/ 0 h 39"/>
                <a:gd name="T2" fmla="*/ 7 w 105"/>
                <a:gd name="T3" fmla="*/ 0 h 39"/>
                <a:gd name="T4" fmla="*/ 0 w 105"/>
                <a:gd name="T5" fmla="*/ 19 h 39"/>
                <a:gd name="T6" fmla="*/ 7 w 105"/>
                <a:gd name="T7" fmla="*/ 39 h 39"/>
                <a:gd name="T8" fmla="*/ 98 w 105"/>
                <a:gd name="T9" fmla="*/ 39 h 39"/>
                <a:gd name="T10" fmla="*/ 105 w 105"/>
                <a:gd name="T11" fmla="*/ 19 h 39"/>
                <a:gd name="T12" fmla="*/ 98 w 105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39">
                  <a:moveTo>
                    <a:pt x="9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9"/>
                    <a:pt x="0" y="19"/>
                  </a:cubicBezTo>
                  <a:cubicBezTo>
                    <a:pt x="0" y="30"/>
                    <a:pt x="3" y="39"/>
                    <a:pt x="7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102" y="39"/>
                    <a:pt x="105" y="30"/>
                    <a:pt x="105" y="19"/>
                  </a:cubicBezTo>
                  <a:cubicBezTo>
                    <a:pt x="105" y="9"/>
                    <a:pt x="102" y="0"/>
                    <a:pt x="9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82" name="Freeform 73">
              <a:extLst>
                <a:ext uri="{FF2B5EF4-FFF2-40B4-BE49-F238E27FC236}">
                  <a16:creationId xmlns="" xmlns:a16="http://schemas.microsoft.com/office/drawing/2014/main" id="{16FDF013-C8E9-4808-88D7-06FDC7939A6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0183" y="2722566"/>
              <a:ext cx="252413" cy="93663"/>
            </a:xfrm>
            <a:custGeom>
              <a:avLst/>
              <a:gdLst>
                <a:gd name="T0" fmla="*/ 98 w 105"/>
                <a:gd name="T1" fmla="*/ 0 h 39"/>
                <a:gd name="T2" fmla="*/ 7 w 105"/>
                <a:gd name="T3" fmla="*/ 0 h 39"/>
                <a:gd name="T4" fmla="*/ 0 w 105"/>
                <a:gd name="T5" fmla="*/ 20 h 39"/>
                <a:gd name="T6" fmla="*/ 7 w 105"/>
                <a:gd name="T7" fmla="*/ 39 h 39"/>
                <a:gd name="T8" fmla="*/ 98 w 105"/>
                <a:gd name="T9" fmla="*/ 39 h 39"/>
                <a:gd name="T10" fmla="*/ 105 w 105"/>
                <a:gd name="T11" fmla="*/ 20 h 39"/>
                <a:gd name="T12" fmla="*/ 98 w 105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39">
                  <a:moveTo>
                    <a:pt x="9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9"/>
                    <a:pt x="0" y="20"/>
                  </a:cubicBezTo>
                  <a:cubicBezTo>
                    <a:pt x="0" y="30"/>
                    <a:pt x="3" y="39"/>
                    <a:pt x="7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102" y="39"/>
                    <a:pt x="105" y="30"/>
                    <a:pt x="105" y="20"/>
                  </a:cubicBezTo>
                  <a:cubicBezTo>
                    <a:pt x="105" y="9"/>
                    <a:pt x="102" y="0"/>
                    <a:pt x="9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83" name="Freeform 74">
              <a:extLst>
                <a:ext uri="{FF2B5EF4-FFF2-40B4-BE49-F238E27FC236}">
                  <a16:creationId xmlns="" xmlns:a16="http://schemas.microsoft.com/office/drawing/2014/main" id="{9A934685-7274-4711-966B-4BDE37A48734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0183" y="2927354"/>
              <a:ext cx="252413" cy="95250"/>
            </a:xfrm>
            <a:custGeom>
              <a:avLst/>
              <a:gdLst>
                <a:gd name="T0" fmla="*/ 98 w 105"/>
                <a:gd name="T1" fmla="*/ 0 h 39"/>
                <a:gd name="T2" fmla="*/ 7 w 105"/>
                <a:gd name="T3" fmla="*/ 0 h 39"/>
                <a:gd name="T4" fmla="*/ 0 w 105"/>
                <a:gd name="T5" fmla="*/ 20 h 39"/>
                <a:gd name="T6" fmla="*/ 7 w 105"/>
                <a:gd name="T7" fmla="*/ 39 h 39"/>
                <a:gd name="T8" fmla="*/ 98 w 105"/>
                <a:gd name="T9" fmla="*/ 39 h 39"/>
                <a:gd name="T10" fmla="*/ 105 w 105"/>
                <a:gd name="T11" fmla="*/ 20 h 39"/>
                <a:gd name="T12" fmla="*/ 98 w 105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39">
                  <a:moveTo>
                    <a:pt x="9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9"/>
                    <a:pt x="0" y="20"/>
                  </a:cubicBezTo>
                  <a:cubicBezTo>
                    <a:pt x="0" y="31"/>
                    <a:pt x="3" y="39"/>
                    <a:pt x="7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102" y="39"/>
                    <a:pt x="105" y="31"/>
                    <a:pt x="105" y="20"/>
                  </a:cubicBezTo>
                  <a:cubicBezTo>
                    <a:pt x="105" y="9"/>
                    <a:pt x="102" y="0"/>
                    <a:pt x="9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84" name="Freeform 75">
              <a:extLst>
                <a:ext uri="{FF2B5EF4-FFF2-40B4-BE49-F238E27FC236}">
                  <a16:creationId xmlns="" xmlns:a16="http://schemas.microsoft.com/office/drawing/2014/main" id="{EC11EA1E-CB80-40D6-B457-BD9DED0B448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0183" y="3133730"/>
              <a:ext cx="252413" cy="93663"/>
            </a:xfrm>
            <a:custGeom>
              <a:avLst/>
              <a:gdLst>
                <a:gd name="T0" fmla="*/ 98 w 105"/>
                <a:gd name="T1" fmla="*/ 0 h 39"/>
                <a:gd name="T2" fmla="*/ 7 w 105"/>
                <a:gd name="T3" fmla="*/ 0 h 39"/>
                <a:gd name="T4" fmla="*/ 0 w 105"/>
                <a:gd name="T5" fmla="*/ 20 h 39"/>
                <a:gd name="T6" fmla="*/ 7 w 105"/>
                <a:gd name="T7" fmla="*/ 39 h 39"/>
                <a:gd name="T8" fmla="*/ 98 w 105"/>
                <a:gd name="T9" fmla="*/ 39 h 39"/>
                <a:gd name="T10" fmla="*/ 105 w 105"/>
                <a:gd name="T11" fmla="*/ 20 h 39"/>
                <a:gd name="T12" fmla="*/ 98 w 105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39">
                  <a:moveTo>
                    <a:pt x="9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9"/>
                    <a:pt x="0" y="20"/>
                  </a:cubicBezTo>
                  <a:cubicBezTo>
                    <a:pt x="0" y="31"/>
                    <a:pt x="3" y="39"/>
                    <a:pt x="7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102" y="39"/>
                    <a:pt x="105" y="31"/>
                    <a:pt x="105" y="20"/>
                  </a:cubicBezTo>
                  <a:cubicBezTo>
                    <a:pt x="105" y="9"/>
                    <a:pt x="102" y="0"/>
                    <a:pt x="9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85" name="Freeform 76">
              <a:extLst>
                <a:ext uri="{FF2B5EF4-FFF2-40B4-BE49-F238E27FC236}">
                  <a16:creationId xmlns="" xmlns:a16="http://schemas.microsoft.com/office/drawing/2014/main" id="{552F3CB8-D512-4B68-A51F-E1DAC9DDA4AF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0183" y="3340105"/>
              <a:ext cx="252413" cy="95250"/>
            </a:xfrm>
            <a:custGeom>
              <a:avLst/>
              <a:gdLst>
                <a:gd name="T0" fmla="*/ 98 w 105"/>
                <a:gd name="T1" fmla="*/ 0 h 39"/>
                <a:gd name="T2" fmla="*/ 7 w 105"/>
                <a:gd name="T3" fmla="*/ 0 h 39"/>
                <a:gd name="T4" fmla="*/ 0 w 105"/>
                <a:gd name="T5" fmla="*/ 19 h 39"/>
                <a:gd name="T6" fmla="*/ 7 w 105"/>
                <a:gd name="T7" fmla="*/ 39 h 39"/>
                <a:gd name="T8" fmla="*/ 98 w 105"/>
                <a:gd name="T9" fmla="*/ 39 h 39"/>
                <a:gd name="T10" fmla="*/ 105 w 105"/>
                <a:gd name="T11" fmla="*/ 19 h 39"/>
                <a:gd name="T12" fmla="*/ 98 w 105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39">
                  <a:moveTo>
                    <a:pt x="9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8"/>
                    <a:pt x="0" y="19"/>
                  </a:cubicBezTo>
                  <a:cubicBezTo>
                    <a:pt x="0" y="30"/>
                    <a:pt x="3" y="39"/>
                    <a:pt x="7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102" y="39"/>
                    <a:pt x="105" y="30"/>
                    <a:pt x="105" y="19"/>
                  </a:cubicBezTo>
                  <a:cubicBezTo>
                    <a:pt x="105" y="8"/>
                    <a:pt x="102" y="0"/>
                    <a:pt x="9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86" name="Freeform 77">
              <a:extLst>
                <a:ext uri="{FF2B5EF4-FFF2-40B4-BE49-F238E27FC236}">
                  <a16:creationId xmlns="" xmlns:a16="http://schemas.microsoft.com/office/drawing/2014/main" id="{79509909-4F16-43F7-BD88-358E5DE84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0183" y="3546480"/>
              <a:ext cx="252413" cy="93663"/>
            </a:xfrm>
            <a:custGeom>
              <a:avLst/>
              <a:gdLst>
                <a:gd name="T0" fmla="*/ 98 w 105"/>
                <a:gd name="T1" fmla="*/ 0 h 39"/>
                <a:gd name="T2" fmla="*/ 7 w 105"/>
                <a:gd name="T3" fmla="*/ 0 h 39"/>
                <a:gd name="T4" fmla="*/ 0 w 105"/>
                <a:gd name="T5" fmla="*/ 19 h 39"/>
                <a:gd name="T6" fmla="*/ 7 w 105"/>
                <a:gd name="T7" fmla="*/ 39 h 39"/>
                <a:gd name="T8" fmla="*/ 98 w 105"/>
                <a:gd name="T9" fmla="*/ 39 h 39"/>
                <a:gd name="T10" fmla="*/ 105 w 105"/>
                <a:gd name="T11" fmla="*/ 19 h 39"/>
                <a:gd name="T12" fmla="*/ 98 w 105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39">
                  <a:moveTo>
                    <a:pt x="9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8"/>
                    <a:pt x="0" y="19"/>
                  </a:cubicBezTo>
                  <a:cubicBezTo>
                    <a:pt x="0" y="30"/>
                    <a:pt x="3" y="39"/>
                    <a:pt x="7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102" y="39"/>
                    <a:pt x="105" y="30"/>
                    <a:pt x="105" y="19"/>
                  </a:cubicBezTo>
                  <a:cubicBezTo>
                    <a:pt x="105" y="8"/>
                    <a:pt x="102" y="0"/>
                    <a:pt x="9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87" name="Freeform 78">
              <a:extLst>
                <a:ext uri="{FF2B5EF4-FFF2-40B4-BE49-F238E27FC236}">
                  <a16:creationId xmlns="" xmlns:a16="http://schemas.microsoft.com/office/drawing/2014/main" id="{B980D7F3-B95D-4286-A360-8E739B51B5D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0183" y="3751268"/>
              <a:ext cx="252413" cy="93663"/>
            </a:xfrm>
            <a:custGeom>
              <a:avLst/>
              <a:gdLst>
                <a:gd name="T0" fmla="*/ 98 w 105"/>
                <a:gd name="T1" fmla="*/ 0 h 39"/>
                <a:gd name="T2" fmla="*/ 7 w 105"/>
                <a:gd name="T3" fmla="*/ 0 h 39"/>
                <a:gd name="T4" fmla="*/ 0 w 105"/>
                <a:gd name="T5" fmla="*/ 19 h 39"/>
                <a:gd name="T6" fmla="*/ 7 w 105"/>
                <a:gd name="T7" fmla="*/ 39 h 39"/>
                <a:gd name="T8" fmla="*/ 98 w 105"/>
                <a:gd name="T9" fmla="*/ 39 h 39"/>
                <a:gd name="T10" fmla="*/ 105 w 105"/>
                <a:gd name="T11" fmla="*/ 19 h 39"/>
                <a:gd name="T12" fmla="*/ 98 w 105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39">
                  <a:moveTo>
                    <a:pt x="9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9"/>
                    <a:pt x="0" y="19"/>
                  </a:cubicBezTo>
                  <a:cubicBezTo>
                    <a:pt x="0" y="30"/>
                    <a:pt x="3" y="39"/>
                    <a:pt x="7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102" y="39"/>
                    <a:pt x="105" y="30"/>
                    <a:pt x="105" y="19"/>
                  </a:cubicBezTo>
                  <a:cubicBezTo>
                    <a:pt x="105" y="9"/>
                    <a:pt x="102" y="0"/>
                    <a:pt x="9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88" name="Freeform 79">
              <a:extLst>
                <a:ext uri="{FF2B5EF4-FFF2-40B4-BE49-F238E27FC236}">
                  <a16:creationId xmlns="" xmlns:a16="http://schemas.microsoft.com/office/drawing/2014/main" id="{8A4D5E44-DED0-4EEF-B4CA-DD44E31879C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0183" y="3956056"/>
              <a:ext cx="252413" cy="95250"/>
            </a:xfrm>
            <a:custGeom>
              <a:avLst/>
              <a:gdLst>
                <a:gd name="T0" fmla="*/ 98 w 105"/>
                <a:gd name="T1" fmla="*/ 0 h 39"/>
                <a:gd name="T2" fmla="*/ 7 w 105"/>
                <a:gd name="T3" fmla="*/ 0 h 39"/>
                <a:gd name="T4" fmla="*/ 0 w 105"/>
                <a:gd name="T5" fmla="*/ 20 h 39"/>
                <a:gd name="T6" fmla="*/ 7 w 105"/>
                <a:gd name="T7" fmla="*/ 39 h 39"/>
                <a:gd name="T8" fmla="*/ 98 w 105"/>
                <a:gd name="T9" fmla="*/ 39 h 39"/>
                <a:gd name="T10" fmla="*/ 105 w 105"/>
                <a:gd name="T11" fmla="*/ 20 h 39"/>
                <a:gd name="T12" fmla="*/ 98 w 105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39">
                  <a:moveTo>
                    <a:pt x="9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9"/>
                    <a:pt x="0" y="20"/>
                  </a:cubicBezTo>
                  <a:cubicBezTo>
                    <a:pt x="0" y="30"/>
                    <a:pt x="3" y="39"/>
                    <a:pt x="7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102" y="39"/>
                    <a:pt x="105" y="30"/>
                    <a:pt x="105" y="20"/>
                  </a:cubicBezTo>
                  <a:cubicBezTo>
                    <a:pt x="105" y="9"/>
                    <a:pt x="102" y="0"/>
                    <a:pt x="9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89" name="Freeform 80">
              <a:extLst>
                <a:ext uri="{FF2B5EF4-FFF2-40B4-BE49-F238E27FC236}">
                  <a16:creationId xmlns="" xmlns:a16="http://schemas.microsoft.com/office/drawing/2014/main" id="{595098AE-300D-4805-9C21-324A6CA51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0183" y="4162431"/>
              <a:ext cx="252413" cy="93663"/>
            </a:xfrm>
            <a:custGeom>
              <a:avLst/>
              <a:gdLst>
                <a:gd name="T0" fmla="*/ 98 w 105"/>
                <a:gd name="T1" fmla="*/ 0 h 39"/>
                <a:gd name="T2" fmla="*/ 7 w 105"/>
                <a:gd name="T3" fmla="*/ 0 h 39"/>
                <a:gd name="T4" fmla="*/ 0 w 105"/>
                <a:gd name="T5" fmla="*/ 20 h 39"/>
                <a:gd name="T6" fmla="*/ 7 w 105"/>
                <a:gd name="T7" fmla="*/ 39 h 39"/>
                <a:gd name="T8" fmla="*/ 98 w 105"/>
                <a:gd name="T9" fmla="*/ 39 h 39"/>
                <a:gd name="T10" fmla="*/ 105 w 105"/>
                <a:gd name="T11" fmla="*/ 20 h 39"/>
                <a:gd name="T12" fmla="*/ 98 w 105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39">
                  <a:moveTo>
                    <a:pt x="9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9"/>
                    <a:pt x="0" y="20"/>
                  </a:cubicBezTo>
                  <a:cubicBezTo>
                    <a:pt x="0" y="31"/>
                    <a:pt x="3" y="39"/>
                    <a:pt x="7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102" y="39"/>
                    <a:pt x="105" y="31"/>
                    <a:pt x="105" y="20"/>
                  </a:cubicBezTo>
                  <a:cubicBezTo>
                    <a:pt x="105" y="9"/>
                    <a:pt x="102" y="0"/>
                    <a:pt x="9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90" name="Freeform 81">
              <a:extLst>
                <a:ext uri="{FF2B5EF4-FFF2-40B4-BE49-F238E27FC236}">
                  <a16:creationId xmlns="" xmlns:a16="http://schemas.microsoft.com/office/drawing/2014/main" id="{CF25977C-406B-497E-AA70-630823DEF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0183" y="4367219"/>
              <a:ext cx="252413" cy="96838"/>
            </a:xfrm>
            <a:custGeom>
              <a:avLst/>
              <a:gdLst>
                <a:gd name="T0" fmla="*/ 98 w 105"/>
                <a:gd name="T1" fmla="*/ 0 h 40"/>
                <a:gd name="T2" fmla="*/ 7 w 105"/>
                <a:gd name="T3" fmla="*/ 0 h 40"/>
                <a:gd name="T4" fmla="*/ 0 w 105"/>
                <a:gd name="T5" fmla="*/ 20 h 40"/>
                <a:gd name="T6" fmla="*/ 7 w 105"/>
                <a:gd name="T7" fmla="*/ 40 h 40"/>
                <a:gd name="T8" fmla="*/ 98 w 105"/>
                <a:gd name="T9" fmla="*/ 40 h 40"/>
                <a:gd name="T10" fmla="*/ 105 w 105"/>
                <a:gd name="T11" fmla="*/ 20 h 40"/>
                <a:gd name="T12" fmla="*/ 98 w 105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40">
                  <a:moveTo>
                    <a:pt x="9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9"/>
                    <a:pt x="0" y="20"/>
                  </a:cubicBezTo>
                  <a:cubicBezTo>
                    <a:pt x="0" y="31"/>
                    <a:pt x="3" y="40"/>
                    <a:pt x="7" y="40"/>
                  </a:cubicBezTo>
                  <a:cubicBezTo>
                    <a:pt x="98" y="40"/>
                    <a:pt x="98" y="40"/>
                    <a:pt x="98" y="40"/>
                  </a:cubicBezTo>
                  <a:cubicBezTo>
                    <a:pt x="102" y="40"/>
                    <a:pt x="105" y="31"/>
                    <a:pt x="105" y="20"/>
                  </a:cubicBezTo>
                  <a:cubicBezTo>
                    <a:pt x="105" y="9"/>
                    <a:pt x="102" y="0"/>
                    <a:pt x="9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91" name="Freeform 82">
              <a:extLst>
                <a:ext uri="{FF2B5EF4-FFF2-40B4-BE49-F238E27FC236}">
                  <a16:creationId xmlns="" xmlns:a16="http://schemas.microsoft.com/office/drawing/2014/main" id="{138307B1-8683-46FE-B586-68EDC825D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0183" y="4575182"/>
              <a:ext cx="252413" cy="93663"/>
            </a:xfrm>
            <a:custGeom>
              <a:avLst/>
              <a:gdLst>
                <a:gd name="T0" fmla="*/ 98 w 105"/>
                <a:gd name="T1" fmla="*/ 0 h 39"/>
                <a:gd name="T2" fmla="*/ 7 w 105"/>
                <a:gd name="T3" fmla="*/ 0 h 39"/>
                <a:gd name="T4" fmla="*/ 0 w 105"/>
                <a:gd name="T5" fmla="*/ 19 h 39"/>
                <a:gd name="T6" fmla="*/ 7 w 105"/>
                <a:gd name="T7" fmla="*/ 39 h 39"/>
                <a:gd name="T8" fmla="*/ 98 w 105"/>
                <a:gd name="T9" fmla="*/ 39 h 39"/>
                <a:gd name="T10" fmla="*/ 105 w 105"/>
                <a:gd name="T11" fmla="*/ 19 h 39"/>
                <a:gd name="T12" fmla="*/ 98 w 105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39">
                  <a:moveTo>
                    <a:pt x="9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8"/>
                    <a:pt x="0" y="19"/>
                  </a:cubicBezTo>
                  <a:cubicBezTo>
                    <a:pt x="0" y="30"/>
                    <a:pt x="3" y="39"/>
                    <a:pt x="7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102" y="39"/>
                    <a:pt x="105" y="30"/>
                    <a:pt x="105" y="19"/>
                  </a:cubicBezTo>
                  <a:cubicBezTo>
                    <a:pt x="105" y="8"/>
                    <a:pt x="102" y="0"/>
                    <a:pt x="9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92" name="Freeform 83">
              <a:extLst>
                <a:ext uri="{FF2B5EF4-FFF2-40B4-BE49-F238E27FC236}">
                  <a16:creationId xmlns="" xmlns:a16="http://schemas.microsoft.com/office/drawing/2014/main" id="{9AA51D19-FBC2-41E4-9DDF-F568B666E08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0183" y="4779970"/>
              <a:ext cx="252413" cy="93663"/>
            </a:xfrm>
            <a:custGeom>
              <a:avLst/>
              <a:gdLst>
                <a:gd name="T0" fmla="*/ 98 w 105"/>
                <a:gd name="T1" fmla="*/ 0 h 39"/>
                <a:gd name="T2" fmla="*/ 7 w 105"/>
                <a:gd name="T3" fmla="*/ 0 h 39"/>
                <a:gd name="T4" fmla="*/ 0 w 105"/>
                <a:gd name="T5" fmla="*/ 19 h 39"/>
                <a:gd name="T6" fmla="*/ 7 w 105"/>
                <a:gd name="T7" fmla="*/ 39 h 39"/>
                <a:gd name="T8" fmla="*/ 98 w 105"/>
                <a:gd name="T9" fmla="*/ 39 h 39"/>
                <a:gd name="T10" fmla="*/ 105 w 105"/>
                <a:gd name="T11" fmla="*/ 19 h 39"/>
                <a:gd name="T12" fmla="*/ 98 w 105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39">
                  <a:moveTo>
                    <a:pt x="9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9"/>
                    <a:pt x="0" y="19"/>
                  </a:cubicBezTo>
                  <a:cubicBezTo>
                    <a:pt x="0" y="30"/>
                    <a:pt x="3" y="39"/>
                    <a:pt x="7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102" y="39"/>
                    <a:pt x="105" y="30"/>
                    <a:pt x="105" y="19"/>
                  </a:cubicBezTo>
                  <a:cubicBezTo>
                    <a:pt x="105" y="9"/>
                    <a:pt x="102" y="0"/>
                    <a:pt x="9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93" name="Freeform 84">
              <a:extLst>
                <a:ext uri="{FF2B5EF4-FFF2-40B4-BE49-F238E27FC236}">
                  <a16:creationId xmlns="" xmlns:a16="http://schemas.microsoft.com/office/drawing/2014/main" id="{39ADBB2A-EBF3-436D-82D3-4709B3F5392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0183" y="4984758"/>
              <a:ext cx="252413" cy="95250"/>
            </a:xfrm>
            <a:custGeom>
              <a:avLst/>
              <a:gdLst>
                <a:gd name="T0" fmla="*/ 98 w 105"/>
                <a:gd name="T1" fmla="*/ 0 h 39"/>
                <a:gd name="T2" fmla="*/ 7 w 105"/>
                <a:gd name="T3" fmla="*/ 0 h 39"/>
                <a:gd name="T4" fmla="*/ 0 w 105"/>
                <a:gd name="T5" fmla="*/ 20 h 39"/>
                <a:gd name="T6" fmla="*/ 7 w 105"/>
                <a:gd name="T7" fmla="*/ 39 h 39"/>
                <a:gd name="T8" fmla="*/ 98 w 105"/>
                <a:gd name="T9" fmla="*/ 39 h 39"/>
                <a:gd name="T10" fmla="*/ 105 w 105"/>
                <a:gd name="T11" fmla="*/ 20 h 39"/>
                <a:gd name="T12" fmla="*/ 98 w 105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39">
                  <a:moveTo>
                    <a:pt x="9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9"/>
                    <a:pt x="0" y="20"/>
                  </a:cubicBezTo>
                  <a:cubicBezTo>
                    <a:pt x="0" y="30"/>
                    <a:pt x="3" y="39"/>
                    <a:pt x="7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102" y="39"/>
                    <a:pt x="105" y="30"/>
                    <a:pt x="105" y="20"/>
                  </a:cubicBezTo>
                  <a:cubicBezTo>
                    <a:pt x="105" y="9"/>
                    <a:pt x="102" y="0"/>
                    <a:pt x="9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94" name="Freeform 5">
            <a:extLst>
              <a:ext uri="{FF2B5EF4-FFF2-40B4-BE49-F238E27FC236}">
                <a16:creationId xmlns="" xmlns:a16="http://schemas.microsoft.com/office/drawing/2014/main" id="{685062C3-3506-4B4A-AF3D-739ACAA46D61}"/>
              </a:ext>
            </a:extLst>
          </p:cNvPr>
          <p:cNvSpPr>
            <a:spLocks/>
          </p:cNvSpPr>
          <p:nvPr/>
        </p:nvSpPr>
        <p:spPr bwMode="auto">
          <a:xfrm>
            <a:off x="6687676" y="4594482"/>
            <a:ext cx="297574" cy="981807"/>
          </a:xfrm>
          <a:custGeom>
            <a:avLst/>
            <a:gdLst>
              <a:gd name="T0" fmla="*/ 0 w 248"/>
              <a:gd name="T1" fmla="*/ 200 h 900"/>
              <a:gd name="T2" fmla="*/ 0 w 248"/>
              <a:gd name="T3" fmla="*/ 900 h 900"/>
              <a:gd name="T4" fmla="*/ 248 w 248"/>
              <a:gd name="T5" fmla="*/ 900 h 900"/>
              <a:gd name="T6" fmla="*/ 248 w 248"/>
              <a:gd name="T7" fmla="*/ 0 h 900"/>
              <a:gd name="T8" fmla="*/ 200 w 248"/>
              <a:gd name="T9" fmla="*/ 0 h 900"/>
              <a:gd name="T10" fmla="*/ 0 w 248"/>
              <a:gd name="T11" fmla="*/ 200 h 9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48" h="900">
                <a:moveTo>
                  <a:pt x="0" y="200"/>
                </a:moveTo>
                <a:cubicBezTo>
                  <a:pt x="0" y="900"/>
                  <a:pt x="0" y="900"/>
                  <a:pt x="0" y="900"/>
                </a:cubicBezTo>
                <a:cubicBezTo>
                  <a:pt x="248" y="900"/>
                  <a:pt x="248" y="900"/>
                  <a:pt x="248" y="900"/>
                </a:cubicBezTo>
                <a:cubicBezTo>
                  <a:pt x="248" y="0"/>
                  <a:pt x="248" y="0"/>
                  <a:pt x="248" y="0"/>
                </a:cubicBezTo>
                <a:cubicBezTo>
                  <a:pt x="200" y="0"/>
                  <a:pt x="200" y="0"/>
                  <a:pt x="200" y="0"/>
                </a:cubicBezTo>
                <a:cubicBezTo>
                  <a:pt x="90" y="0"/>
                  <a:pt x="0" y="89"/>
                  <a:pt x="0" y="200"/>
                </a:cubicBezTo>
                <a:close/>
              </a:path>
            </a:pathLst>
          </a:custGeom>
          <a:solidFill>
            <a:srgbClr val="2E427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5" name="Freeform 6">
            <a:extLst>
              <a:ext uri="{FF2B5EF4-FFF2-40B4-BE49-F238E27FC236}">
                <a16:creationId xmlns="" xmlns:a16="http://schemas.microsoft.com/office/drawing/2014/main" id="{2C43D785-E579-432C-9B8F-EDB0618AE181}"/>
              </a:ext>
            </a:extLst>
          </p:cNvPr>
          <p:cNvSpPr>
            <a:spLocks/>
          </p:cNvSpPr>
          <p:nvPr/>
        </p:nvSpPr>
        <p:spPr bwMode="auto">
          <a:xfrm>
            <a:off x="11895217" y="4594482"/>
            <a:ext cx="296783" cy="981807"/>
          </a:xfrm>
          <a:custGeom>
            <a:avLst/>
            <a:gdLst>
              <a:gd name="T0" fmla="*/ 48 w 248"/>
              <a:gd name="T1" fmla="*/ 0 h 900"/>
              <a:gd name="T2" fmla="*/ 0 w 248"/>
              <a:gd name="T3" fmla="*/ 0 h 900"/>
              <a:gd name="T4" fmla="*/ 0 w 248"/>
              <a:gd name="T5" fmla="*/ 900 h 900"/>
              <a:gd name="T6" fmla="*/ 248 w 248"/>
              <a:gd name="T7" fmla="*/ 900 h 900"/>
              <a:gd name="T8" fmla="*/ 248 w 248"/>
              <a:gd name="T9" fmla="*/ 200 h 900"/>
              <a:gd name="T10" fmla="*/ 48 w 248"/>
              <a:gd name="T11" fmla="*/ 0 h 9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48" h="900">
                <a:moveTo>
                  <a:pt x="48" y="0"/>
                </a:moveTo>
                <a:cubicBezTo>
                  <a:pt x="0" y="0"/>
                  <a:pt x="0" y="0"/>
                  <a:pt x="0" y="0"/>
                </a:cubicBezTo>
                <a:cubicBezTo>
                  <a:pt x="0" y="900"/>
                  <a:pt x="0" y="900"/>
                  <a:pt x="0" y="900"/>
                </a:cubicBezTo>
                <a:cubicBezTo>
                  <a:pt x="248" y="900"/>
                  <a:pt x="248" y="900"/>
                  <a:pt x="248" y="900"/>
                </a:cubicBezTo>
                <a:cubicBezTo>
                  <a:pt x="248" y="200"/>
                  <a:pt x="248" y="200"/>
                  <a:pt x="248" y="200"/>
                </a:cubicBezTo>
                <a:cubicBezTo>
                  <a:pt x="248" y="89"/>
                  <a:pt x="158" y="0"/>
                  <a:pt x="48" y="0"/>
                </a:cubicBezTo>
                <a:close/>
              </a:path>
            </a:pathLst>
          </a:custGeom>
          <a:solidFill>
            <a:srgbClr val="24366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6" name="Freeform 7">
            <a:extLst>
              <a:ext uri="{FF2B5EF4-FFF2-40B4-BE49-F238E27FC236}">
                <a16:creationId xmlns="" xmlns:a16="http://schemas.microsoft.com/office/drawing/2014/main" id="{69AF8C54-6D5C-493B-B7D5-E941BF2BE52D}"/>
              </a:ext>
            </a:extLst>
          </p:cNvPr>
          <p:cNvSpPr>
            <a:spLocks/>
          </p:cNvSpPr>
          <p:nvPr/>
        </p:nvSpPr>
        <p:spPr bwMode="auto">
          <a:xfrm>
            <a:off x="7215553" y="4380765"/>
            <a:ext cx="292825" cy="1195524"/>
          </a:xfrm>
          <a:custGeom>
            <a:avLst/>
            <a:gdLst>
              <a:gd name="T0" fmla="*/ 211 w 244"/>
              <a:gd name="T1" fmla="*/ 0 h 1096"/>
              <a:gd name="T2" fmla="*/ 34 w 244"/>
              <a:gd name="T3" fmla="*/ 0 h 1096"/>
              <a:gd name="T4" fmla="*/ 0 w 244"/>
              <a:gd name="T5" fmla="*/ 33 h 1096"/>
              <a:gd name="T6" fmla="*/ 0 w 244"/>
              <a:gd name="T7" fmla="*/ 1096 h 1096"/>
              <a:gd name="T8" fmla="*/ 244 w 244"/>
              <a:gd name="T9" fmla="*/ 1096 h 1096"/>
              <a:gd name="T10" fmla="*/ 244 w 244"/>
              <a:gd name="T11" fmla="*/ 33 h 1096"/>
              <a:gd name="T12" fmla="*/ 211 w 244"/>
              <a:gd name="T13" fmla="*/ 0 h 10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44" h="1096">
                <a:moveTo>
                  <a:pt x="211" y="0"/>
                </a:moveTo>
                <a:cubicBezTo>
                  <a:pt x="34" y="0"/>
                  <a:pt x="34" y="0"/>
                  <a:pt x="34" y="0"/>
                </a:cubicBezTo>
                <a:cubicBezTo>
                  <a:pt x="15" y="0"/>
                  <a:pt x="0" y="15"/>
                  <a:pt x="0" y="33"/>
                </a:cubicBezTo>
                <a:cubicBezTo>
                  <a:pt x="0" y="1096"/>
                  <a:pt x="0" y="1096"/>
                  <a:pt x="0" y="1096"/>
                </a:cubicBezTo>
                <a:cubicBezTo>
                  <a:pt x="244" y="1096"/>
                  <a:pt x="244" y="1096"/>
                  <a:pt x="244" y="1096"/>
                </a:cubicBezTo>
                <a:cubicBezTo>
                  <a:pt x="244" y="33"/>
                  <a:pt x="244" y="33"/>
                  <a:pt x="244" y="33"/>
                </a:cubicBezTo>
                <a:cubicBezTo>
                  <a:pt x="244" y="15"/>
                  <a:pt x="229" y="0"/>
                  <a:pt x="211" y="0"/>
                </a:cubicBezTo>
                <a:close/>
              </a:path>
            </a:pathLst>
          </a:custGeom>
          <a:solidFill>
            <a:srgbClr val="2E427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7" name="Freeform 8">
            <a:extLst>
              <a:ext uri="{FF2B5EF4-FFF2-40B4-BE49-F238E27FC236}">
                <a16:creationId xmlns="" xmlns:a16="http://schemas.microsoft.com/office/drawing/2014/main" id="{A19942CF-C7A1-46FA-8008-4D07FA956591}"/>
              </a:ext>
            </a:extLst>
          </p:cNvPr>
          <p:cNvSpPr>
            <a:spLocks/>
          </p:cNvSpPr>
          <p:nvPr/>
        </p:nvSpPr>
        <p:spPr bwMode="auto">
          <a:xfrm>
            <a:off x="10311587" y="4380765"/>
            <a:ext cx="292825" cy="1195524"/>
          </a:xfrm>
          <a:custGeom>
            <a:avLst/>
            <a:gdLst>
              <a:gd name="T0" fmla="*/ 210 w 244"/>
              <a:gd name="T1" fmla="*/ 0 h 1096"/>
              <a:gd name="T2" fmla="*/ 33 w 244"/>
              <a:gd name="T3" fmla="*/ 0 h 1096"/>
              <a:gd name="T4" fmla="*/ 0 w 244"/>
              <a:gd name="T5" fmla="*/ 33 h 1096"/>
              <a:gd name="T6" fmla="*/ 0 w 244"/>
              <a:gd name="T7" fmla="*/ 1096 h 1096"/>
              <a:gd name="T8" fmla="*/ 244 w 244"/>
              <a:gd name="T9" fmla="*/ 1096 h 1096"/>
              <a:gd name="T10" fmla="*/ 244 w 244"/>
              <a:gd name="T11" fmla="*/ 33 h 1096"/>
              <a:gd name="T12" fmla="*/ 210 w 244"/>
              <a:gd name="T13" fmla="*/ 0 h 10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44" h="1096">
                <a:moveTo>
                  <a:pt x="210" y="0"/>
                </a:moveTo>
                <a:cubicBezTo>
                  <a:pt x="33" y="0"/>
                  <a:pt x="33" y="0"/>
                  <a:pt x="33" y="0"/>
                </a:cubicBezTo>
                <a:cubicBezTo>
                  <a:pt x="15" y="0"/>
                  <a:pt x="0" y="15"/>
                  <a:pt x="0" y="33"/>
                </a:cubicBezTo>
                <a:cubicBezTo>
                  <a:pt x="0" y="1096"/>
                  <a:pt x="0" y="1096"/>
                  <a:pt x="0" y="1096"/>
                </a:cubicBezTo>
                <a:cubicBezTo>
                  <a:pt x="244" y="1096"/>
                  <a:pt x="244" y="1096"/>
                  <a:pt x="244" y="1096"/>
                </a:cubicBezTo>
                <a:cubicBezTo>
                  <a:pt x="244" y="33"/>
                  <a:pt x="244" y="33"/>
                  <a:pt x="244" y="33"/>
                </a:cubicBezTo>
                <a:cubicBezTo>
                  <a:pt x="244" y="15"/>
                  <a:pt x="229" y="0"/>
                  <a:pt x="210" y="0"/>
                </a:cubicBezTo>
                <a:close/>
              </a:path>
            </a:pathLst>
          </a:custGeom>
          <a:solidFill>
            <a:srgbClr val="24366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8" name="Freeform 9">
            <a:extLst>
              <a:ext uri="{FF2B5EF4-FFF2-40B4-BE49-F238E27FC236}">
                <a16:creationId xmlns="" xmlns:a16="http://schemas.microsoft.com/office/drawing/2014/main" id="{2F0C4915-C98A-43FE-B497-CDB00CE110D5}"/>
              </a:ext>
            </a:extLst>
          </p:cNvPr>
          <p:cNvSpPr>
            <a:spLocks/>
          </p:cNvSpPr>
          <p:nvPr/>
        </p:nvSpPr>
        <p:spPr bwMode="auto">
          <a:xfrm>
            <a:off x="9643629" y="5107260"/>
            <a:ext cx="633136" cy="469030"/>
          </a:xfrm>
          <a:custGeom>
            <a:avLst/>
            <a:gdLst>
              <a:gd name="T0" fmla="*/ 479 w 528"/>
              <a:gd name="T1" fmla="*/ 0 h 430"/>
              <a:gd name="T2" fmla="*/ 50 w 528"/>
              <a:gd name="T3" fmla="*/ 0 h 430"/>
              <a:gd name="T4" fmla="*/ 0 w 528"/>
              <a:gd name="T5" fmla="*/ 49 h 430"/>
              <a:gd name="T6" fmla="*/ 0 w 528"/>
              <a:gd name="T7" fmla="*/ 430 h 430"/>
              <a:gd name="T8" fmla="*/ 528 w 528"/>
              <a:gd name="T9" fmla="*/ 430 h 430"/>
              <a:gd name="T10" fmla="*/ 528 w 528"/>
              <a:gd name="T11" fmla="*/ 49 h 430"/>
              <a:gd name="T12" fmla="*/ 479 w 528"/>
              <a:gd name="T13" fmla="*/ 0 h 4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28" h="430">
                <a:moveTo>
                  <a:pt x="479" y="0"/>
                </a:moveTo>
                <a:cubicBezTo>
                  <a:pt x="50" y="0"/>
                  <a:pt x="50" y="0"/>
                  <a:pt x="50" y="0"/>
                </a:cubicBezTo>
                <a:cubicBezTo>
                  <a:pt x="23" y="0"/>
                  <a:pt x="0" y="22"/>
                  <a:pt x="0" y="49"/>
                </a:cubicBezTo>
                <a:cubicBezTo>
                  <a:pt x="0" y="430"/>
                  <a:pt x="0" y="430"/>
                  <a:pt x="0" y="430"/>
                </a:cubicBezTo>
                <a:cubicBezTo>
                  <a:pt x="528" y="430"/>
                  <a:pt x="528" y="430"/>
                  <a:pt x="528" y="430"/>
                </a:cubicBezTo>
                <a:cubicBezTo>
                  <a:pt x="528" y="49"/>
                  <a:pt x="528" y="49"/>
                  <a:pt x="528" y="49"/>
                </a:cubicBezTo>
                <a:cubicBezTo>
                  <a:pt x="528" y="22"/>
                  <a:pt x="506" y="0"/>
                  <a:pt x="479" y="0"/>
                </a:cubicBezTo>
                <a:close/>
              </a:path>
            </a:pathLst>
          </a:custGeom>
          <a:solidFill>
            <a:srgbClr val="2E427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9" name="Freeform 10">
            <a:extLst>
              <a:ext uri="{FF2B5EF4-FFF2-40B4-BE49-F238E27FC236}">
                <a16:creationId xmlns="" xmlns:a16="http://schemas.microsoft.com/office/drawing/2014/main" id="{ABC64C1B-EAA1-4294-882F-95CE46C7A0EB}"/>
              </a:ext>
            </a:extLst>
          </p:cNvPr>
          <p:cNvSpPr>
            <a:spLocks/>
          </p:cNvSpPr>
          <p:nvPr/>
        </p:nvSpPr>
        <p:spPr bwMode="auto">
          <a:xfrm>
            <a:off x="6117062" y="4872028"/>
            <a:ext cx="388587" cy="704262"/>
          </a:xfrm>
          <a:custGeom>
            <a:avLst/>
            <a:gdLst>
              <a:gd name="T0" fmla="*/ 275 w 324"/>
              <a:gd name="T1" fmla="*/ 0 h 646"/>
              <a:gd name="T2" fmla="*/ 49 w 324"/>
              <a:gd name="T3" fmla="*/ 0 h 646"/>
              <a:gd name="T4" fmla="*/ 0 w 324"/>
              <a:gd name="T5" fmla="*/ 49 h 646"/>
              <a:gd name="T6" fmla="*/ 0 w 324"/>
              <a:gd name="T7" fmla="*/ 646 h 646"/>
              <a:gd name="T8" fmla="*/ 324 w 324"/>
              <a:gd name="T9" fmla="*/ 646 h 646"/>
              <a:gd name="T10" fmla="*/ 324 w 324"/>
              <a:gd name="T11" fmla="*/ 49 h 646"/>
              <a:gd name="T12" fmla="*/ 275 w 324"/>
              <a:gd name="T13" fmla="*/ 0 h 6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24" h="646">
                <a:moveTo>
                  <a:pt x="275" y="0"/>
                </a:moveTo>
                <a:cubicBezTo>
                  <a:pt x="49" y="0"/>
                  <a:pt x="49" y="0"/>
                  <a:pt x="49" y="0"/>
                </a:cubicBezTo>
                <a:cubicBezTo>
                  <a:pt x="22" y="0"/>
                  <a:pt x="0" y="22"/>
                  <a:pt x="0" y="49"/>
                </a:cubicBezTo>
                <a:cubicBezTo>
                  <a:pt x="0" y="646"/>
                  <a:pt x="0" y="646"/>
                  <a:pt x="0" y="646"/>
                </a:cubicBezTo>
                <a:cubicBezTo>
                  <a:pt x="324" y="646"/>
                  <a:pt x="324" y="646"/>
                  <a:pt x="324" y="646"/>
                </a:cubicBezTo>
                <a:cubicBezTo>
                  <a:pt x="324" y="49"/>
                  <a:pt x="324" y="49"/>
                  <a:pt x="324" y="49"/>
                </a:cubicBezTo>
                <a:cubicBezTo>
                  <a:pt x="324" y="22"/>
                  <a:pt x="302" y="0"/>
                  <a:pt x="275" y="0"/>
                </a:cubicBezTo>
                <a:close/>
              </a:path>
            </a:pathLst>
          </a:custGeom>
          <a:solidFill>
            <a:srgbClr val="2E427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0" name="Freeform 26">
            <a:extLst>
              <a:ext uri="{FF2B5EF4-FFF2-40B4-BE49-F238E27FC236}">
                <a16:creationId xmlns="" xmlns:a16="http://schemas.microsoft.com/office/drawing/2014/main" id="{F9F4002F-FE50-4803-BDB6-5F9C28283A3C}"/>
              </a:ext>
            </a:extLst>
          </p:cNvPr>
          <p:cNvSpPr>
            <a:spLocks/>
          </p:cNvSpPr>
          <p:nvPr/>
        </p:nvSpPr>
        <p:spPr bwMode="auto">
          <a:xfrm>
            <a:off x="9316772" y="4715684"/>
            <a:ext cx="292825" cy="860605"/>
          </a:xfrm>
          <a:custGeom>
            <a:avLst/>
            <a:gdLst>
              <a:gd name="T0" fmla="*/ 211 w 244"/>
              <a:gd name="T1" fmla="*/ 53 h 789"/>
              <a:gd name="T2" fmla="*/ 193 w 244"/>
              <a:gd name="T3" fmla="*/ 53 h 789"/>
              <a:gd name="T4" fmla="*/ 193 w 244"/>
              <a:gd name="T5" fmla="*/ 25 h 789"/>
              <a:gd name="T6" fmla="*/ 167 w 244"/>
              <a:gd name="T7" fmla="*/ 0 h 789"/>
              <a:gd name="T8" fmla="*/ 77 w 244"/>
              <a:gd name="T9" fmla="*/ 0 h 789"/>
              <a:gd name="T10" fmla="*/ 52 w 244"/>
              <a:gd name="T11" fmla="*/ 25 h 789"/>
              <a:gd name="T12" fmla="*/ 52 w 244"/>
              <a:gd name="T13" fmla="*/ 53 h 789"/>
              <a:gd name="T14" fmla="*/ 34 w 244"/>
              <a:gd name="T15" fmla="*/ 53 h 789"/>
              <a:gd name="T16" fmla="*/ 0 w 244"/>
              <a:gd name="T17" fmla="*/ 86 h 789"/>
              <a:gd name="T18" fmla="*/ 0 w 244"/>
              <a:gd name="T19" fmla="*/ 789 h 789"/>
              <a:gd name="T20" fmla="*/ 244 w 244"/>
              <a:gd name="T21" fmla="*/ 789 h 789"/>
              <a:gd name="T22" fmla="*/ 244 w 244"/>
              <a:gd name="T23" fmla="*/ 86 h 789"/>
              <a:gd name="T24" fmla="*/ 211 w 244"/>
              <a:gd name="T25" fmla="*/ 53 h 7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4" h="789">
                <a:moveTo>
                  <a:pt x="211" y="53"/>
                </a:moveTo>
                <a:cubicBezTo>
                  <a:pt x="193" y="53"/>
                  <a:pt x="193" y="53"/>
                  <a:pt x="193" y="53"/>
                </a:cubicBezTo>
                <a:cubicBezTo>
                  <a:pt x="193" y="25"/>
                  <a:pt x="193" y="25"/>
                  <a:pt x="193" y="25"/>
                </a:cubicBezTo>
                <a:cubicBezTo>
                  <a:pt x="193" y="11"/>
                  <a:pt x="182" y="0"/>
                  <a:pt x="167" y="0"/>
                </a:cubicBezTo>
                <a:cubicBezTo>
                  <a:pt x="77" y="0"/>
                  <a:pt x="77" y="0"/>
                  <a:pt x="77" y="0"/>
                </a:cubicBezTo>
                <a:cubicBezTo>
                  <a:pt x="63" y="0"/>
                  <a:pt x="52" y="11"/>
                  <a:pt x="52" y="25"/>
                </a:cubicBezTo>
                <a:cubicBezTo>
                  <a:pt x="52" y="53"/>
                  <a:pt x="52" y="53"/>
                  <a:pt x="52" y="53"/>
                </a:cubicBezTo>
                <a:cubicBezTo>
                  <a:pt x="34" y="53"/>
                  <a:pt x="34" y="53"/>
                  <a:pt x="34" y="53"/>
                </a:cubicBezTo>
                <a:cubicBezTo>
                  <a:pt x="15" y="53"/>
                  <a:pt x="0" y="68"/>
                  <a:pt x="0" y="86"/>
                </a:cubicBezTo>
                <a:cubicBezTo>
                  <a:pt x="0" y="789"/>
                  <a:pt x="0" y="789"/>
                  <a:pt x="0" y="789"/>
                </a:cubicBezTo>
                <a:cubicBezTo>
                  <a:pt x="244" y="789"/>
                  <a:pt x="244" y="789"/>
                  <a:pt x="244" y="789"/>
                </a:cubicBezTo>
                <a:cubicBezTo>
                  <a:pt x="244" y="86"/>
                  <a:pt x="244" y="86"/>
                  <a:pt x="244" y="86"/>
                </a:cubicBezTo>
                <a:cubicBezTo>
                  <a:pt x="244" y="68"/>
                  <a:pt x="229" y="53"/>
                  <a:pt x="211" y="53"/>
                </a:cubicBezTo>
                <a:close/>
              </a:path>
            </a:pathLst>
          </a:custGeom>
          <a:solidFill>
            <a:srgbClr val="2E427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1" name="Freeform 27">
            <a:extLst>
              <a:ext uri="{FF2B5EF4-FFF2-40B4-BE49-F238E27FC236}">
                <a16:creationId xmlns="" xmlns:a16="http://schemas.microsoft.com/office/drawing/2014/main" id="{7637E14F-6CB2-46A4-9D79-880777475DC0}"/>
              </a:ext>
            </a:extLst>
          </p:cNvPr>
          <p:cNvSpPr>
            <a:spLocks/>
          </p:cNvSpPr>
          <p:nvPr/>
        </p:nvSpPr>
        <p:spPr bwMode="auto">
          <a:xfrm>
            <a:off x="7534495" y="5337471"/>
            <a:ext cx="174904" cy="240970"/>
          </a:xfrm>
          <a:custGeom>
            <a:avLst/>
            <a:gdLst>
              <a:gd name="T0" fmla="*/ 132 w 146"/>
              <a:gd name="T1" fmla="*/ 15 h 221"/>
              <a:gd name="T2" fmla="*/ 115 w 146"/>
              <a:gd name="T3" fmla="*/ 15 h 221"/>
              <a:gd name="T4" fmla="*/ 115 w 146"/>
              <a:gd name="T5" fmla="*/ 11 h 221"/>
              <a:gd name="T6" fmla="*/ 105 w 146"/>
              <a:gd name="T7" fmla="*/ 0 h 221"/>
              <a:gd name="T8" fmla="*/ 41 w 146"/>
              <a:gd name="T9" fmla="*/ 0 h 221"/>
              <a:gd name="T10" fmla="*/ 31 w 146"/>
              <a:gd name="T11" fmla="*/ 11 h 221"/>
              <a:gd name="T12" fmla="*/ 31 w 146"/>
              <a:gd name="T13" fmla="*/ 15 h 221"/>
              <a:gd name="T14" fmla="*/ 14 w 146"/>
              <a:gd name="T15" fmla="*/ 15 h 221"/>
              <a:gd name="T16" fmla="*/ 0 w 146"/>
              <a:gd name="T17" fmla="*/ 29 h 221"/>
              <a:gd name="T18" fmla="*/ 0 w 146"/>
              <a:gd name="T19" fmla="*/ 221 h 221"/>
              <a:gd name="T20" fmla="*/ 146 w 146"/>
              <a:gd name="T21" fmla="*/ 221 h 221"/>
              <a:gd name="T22" fmla="*/ 146 w 146"/>
              <a:gd name="T23" fmla="*/ 29 h 221"/>
              <a:gd name="T24" fmla="*/ 132 w 146"/>
              <a:gd name="T25" fmla="*/ 15 h 2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6" h="221">
                <a:moveTo>
                  <a:pt x="132" y="15"/>
                </a:moveTo>
                <a:cubicBezTo>
                  <a:pt x="115" y="15"/>
                  <a:pt x="115" y="15"/>
                  <a:pt x="115" y="15"/>
                </a:cubicBezTo>
                <a:cubicBezTo>
                  <a:pt x="115" y="11"/>
                  <a:pt x="115" y="11"/>
                  <a:pt x="115" y="11"/>
                </a:cubicBezTo>
                <a:cubicBezTo>
                  <a:pt x="115" y="5"/>
                  <a:pt x="110" y="0"/>
                  <a:pt x="105" y="0"/>
                </a:cubicBezTo>
                <a:cubicBezTo>
                  <a:pt x="41" y="0"/>
                  <a:pt x="41" y="0"/>
                  <a:pt x="41" y="0"/>
                </a:cubicBezTo>
                <a:cubicBezTo>
                  <a:pt x="36" y="0"/>
                  <a:pt x="31" y="5"/>
                  <a:pt x="31" y="11"/>
                </a:cubicBezTo>
                <a:cubicBezTo>
                  <a:pt x="31" y="15"/>
                  <a:pt x="31" y="15"/>
                  <a:pt x="31" y="15"/>
                </a:cubicBezTo>
                <a:cubicBezTo>
                  <a:pt x="14" y="15"/>
                  <a:pt x="14" y="15"/>
                  <a:pt x="14" y="15"/>
                </a:cubicBezTo>
                <a:cubicBezTo>
                  <a:pt x="6" y="15"/>
                  <a:pt x="0" y="21"/>
                  <a:pt x="0" y="29"/>
                </a:cubicBezTo>
                <a:cubicBezTo>
                  <a:pt x="0" y="221"/>
                  <a:pt x="0" y="221"/>
                  <a:pt x="0" y="221"/>
                </a:cubicBezTo>
                <a:cubicBezTo>
                  <a:pt x="146" y="221"/>
                  <a:pt x="146" y="221"/>
                  <a:pt x="146" y="221"/>
                </a:cubicBezTo>
                <a:cubicBezTo>
                  <a:pt x="146" y="29"/>
                  <a:pt x="146" y="29"/>
                  <a:pt x="146" y="29"/>
                </a:cubicBezTo>
                <a:cubicBezTo>
                  <a:pt x="146" y="21"/>
                  <a:pt x="140" y="15"/>
                  <a:pt x="132" y="15"/>
                </a:cubicBezTo>
                <a:close/>
              </a:path>
            </a:pathLst>
          </a:custGeom>
          <a:solidFill>
            <a:srgbClr val="2E427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2" name="Freeform 28">
            <a:extLst>
              <a:ext uri="{FF2B5EF4-FFF2-40B4-BE49-F238E27FC236}">
                <a16:creationId xmlns="" xmlns:a16="http://schemas.microsoft.com/office/drawing/2014/main" id="{F7FEEFF8-2283-4DE2-A504-30CD8CD00FFE}"/>
              </a:ext>
            </a:extLst>
          </p:cNvPr>
          <p:cNvSpPr>
            <a:spLocks/>
          </p:cNvSpPr>
          <p:nvPr/>
        </p:nvSpPr>
        <p:spPr bwMode="auto">
          <a:xfrm>
            <a:off x="8794435" y="4036523"/>
            <a:ext cx="287286" cy="1539766"/>
          </a:xfrm>
          <a:custGeom>
            <a:avLst/>
            <a:gdLst>
              <a:gd name="T0" fmla="*/ 214 w 240"/>
              <a:gd name="T1" fmla="*/ 392 h 1412"/>
              <a:gd name="T2" fmla="*/ 206 w 240"/>
              <a:gd name="T3" fmla="*/ 392 h 1412"/>
              <a:gd name="T4" fmla="*/ 206 w 240"/>
              <a:gd name="T5" fmla="*/ 177 h 1412"/>
              <a:gd name="T6" fmla="*/ 181 w 240"/>
              <a:gd name="T7" fmla="*/ 152 h 1412"/>
              <a:gd name="T8" fmla="*/ 173 w 240"/>
              <a:gd name="T9" fmla="*/ 152 h 1412"/>
              <a:gd name="T10" fmla="*/ 173 w 240"/>
              <a:gd name="T11" fmla="*/ 25 h 1412"/>
              <a:gd name="T12" fmla="*/ 148 w 240"/>
              <a:gd name="T13" fmla="*/ 0 h 1412"/>
              <a:gd name="T14" fmla="*/ 93 w 240"/>
              <a:gd name="T15" fmla="*/ 0 h 1412"/>
              <a:gd name="T16" fmla="*/ 67 w 240"/>
              <a:gd name="T17" fmla="*/ 25 h 1412"/>
              <a:gd name="T18" fmla="*/ 67 w 240"/>
              <a:gd name="T19" fmla="*/ 152 h 1412"/>
              <a:gd name="T20" fmla="*/ 59 w 240"/>
              <a:gd name="T21" fmla="*/ 152 h 1412"/>
              <a:gd name="T22" fmla="*/ 34 w 240"/>
              <a:gd name="T23" fmla="*/ 177 h 1412"/>
              <a:gd name="T24" fmla="*/ 34 w 240"/>
              <a:gd name="T25" fmla="*/ 392 h 1412"/>
              <a:gd name="T26" fmla="*/ 27 w 240"/>
              <a:gd name="T27" fmla="*/ 392 h 1412"/>
              <a:gd name="T28" fmla="*/ 0 w 240"/>
              <a:gd name="T29" fmla="*/ 419 h 1412"/>
              <a:gd name="T30" fmla="*/ 0 w 240"/>
              <a:gd name="T31" fmla="*/ 1412 h 1412"/>
              <a:gd name="T32" fmla="*/ 240 w 240"/>
              <a:gd name="T33" fmla="*/ 1412 h 1412"/>
              <a:gd name="T34" fmla="*/ 240 w 240"/>
              <a:gd name="T35" fmla="*/ 419 h 1412"/>
              <a:gd name="T36" fmla="*/ 214 w 240"/>
              <a:gd name="T37" fmla="*/ 392 h 1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40" h="1412">
                <a:moveTo>
                  <a:pt x="214" y="392"/>
                </a:moveTo>
                <a:cubicBezTo>
                  <a:pt x="206" y="392"/>
                  <a:pt x="206" y="392"/>
                  <a:pt x="206" y="392"/>
                </a:cubicBezTo>
                <a:cubicBezTo>
                  <a:pt x="206" y="177"/>
                  <a:pt x="206" y="177"/>
                  <a:pt x="206" y="177"/>
                </a:cubicBezTo>
                <a:cubicBezTo>
                  <a:pt x="206" y="163"/>
                  <a:pt x="195" y="152"/>
                  <a:pt x="181" y="152"/>
                </a:cubicBezTo>
                <a:cubicBezTo>
                  <a:pt x="173" y="152"/>
                  <a:pt x="173" y="152"/>
                  <a:pt x="173" y="152"/>
                </a:cubicBezTo>
                <a:cubicBezTo>
                  <a:pt x="173" y="25"/>
                  <a:pt x="173" y="25"/>
                  <a:pt x="173" y="25"/>
                </a:cubicBezTo>
                <a:cubicBezTo>
                  <a:pt x="173" y="11"/>
                  <a:pt x="162" y="0"/>
                  <a:pt x="148" y="0"/>
                </a:cubicBezTo>
                <a:cubicBezTo>
                  <a:pt x="93" y="0"/>
                  <a:pt x="93" y="0"/>
                  <a:pt x="93" y="0"/>
                </a:cubicBezTo>
                <a:cubicBezTo>
                  <a:pt x="79" y="0"/>
                  <a:pt x="67" y="11"/>
                  <a:pt x="67" y="25"/>
                </a:cubicBezTo>
                <a:cubicBezTo>
                  <a:pt x="67" y="152"/>
                  <a:pt x="67" y="152"/>
                  <a:pt x="67" y="152"/>
                </a:cubicBezTo>
                <a:cubicBezTo>
                  <a:pt x="59" y="152"/>
                  <a:pt x="59" y="152"/>
                  <a:pt x="59" y="152"/>
                </a:cubicBezTo>
                <a:cubicBezTo>
                  <a:pt x="46" y="152"/>
                  <a:pt x="34" y="163"/>
                  <a:pt x="34" y="177"/>
                </a:cubicBezTo>
                <a:cubicBezTo>
                  <a:pt x="34" y="392"/>
                  <a:pt x="34" y="392"/>
                  <a:pt x="34" y="392"/>
                </a:cubicBezTo>
                <a:cubicBezTo>
                  <a:pt x="27" y="392"/>
                  <a:pt x="27" y="392"/>
                  <a:pt x="27" y="392"/>
                </a:cubicBezTo>
                <a:cubicBezTo>
                  <a:pt x="12" y="392"/>
                  <a:pt x="0" y="404"/>
                  <a:pt x="0" y="419"/>
                </a:cubicBezTo>
                <a:cubicBezTo>
                  <a:pt x="0" y="1412"/>
                  <a:pt x="0" y="1412"/>
                  <a:pt x="0" y="1412"/>
                </a:cubicBezTo>
                <a:cubicBezTo>
                  <a:pt x="240" y="1412"/>
                  <a:pt x="240" y="1412"/>
                  <a:pt x="240" y="1412"/>
                </a:cubicBezTo>
                <a:cubicBezTo>
                  <a:pt x="240" y="419"/>
                  <a:pt x="240" y="419"/>
                  <a:pt x="240" y="419"/>
                </a:cubicBezTo>
                <a:cubicBezTo>
                  <a:pt x="240" y="404"/>
                  <a:pt x="228" y="392"/>
                  <a:pt x="214" y="392"/>
                </a:cubicBezTo>
                <a:close/>
              </a:path>
            </a:pathLst>
          </a:custGeom>
          <a:solidFill>
            <a:srgbClr val="2E427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3" name="Freeform 29">
            <a:extLst>
              <a:ext uri="{FF2B5EF4-FFF2-40B4-BE49-F238E27FC236}">
                <a16:creationId xmlns="" xmlns:a16="http://schemas.microsoft.com/office/drawing/2014/main" id="{01918D33-1817-45E5-84F0-B565C8D2E774}"/>
              </a:ext>
            </a:extLst>
          </p:cNvPr>
          <p:cNvSpPr>
            <a:spLocks/>
          </p:cNvSpPr>
          <p:nvPr/>
        </p:nvSpPr>
        <p:spPr bwMode="auto">
          <a:xfrm>
            <a:off x="7020072" y="5077856"/>
            <a:ext cx="164616" cy="500585"/>
          </a:xfrm>
          <a:custGeom>
            <a:avLst/>
            <a:gdLst>
              <a:gd name="T0" fmla="*/ 125 w 137"/>
              <a:gd name="T1" fmla="*/ 128 h 459"/>
              <a:gd name="T2" fmla="*/ 117 w 137"/>
              <a:gd name="T3" fmla="*/ 128 h 459"/>
              <a:gd name="T4" fmla="*/ 117 w 137"/>
              <a:gd name="T5" fmla="*/ 127 h 459"/>
              <a:gd name="T6" fmla="*/ 117 w 137"/>
              <a:gd name="T7" fmla="*/ 61 h 459"/>
              <a:gd name="T8" fmla="*/ 106 w 137"/>
              <a:gd name="T9" fmla="*/ 50 h 459"/>
              <a:gd name="T10" fmla="*/ 98 w 137"/>
              <a:gd name="T11" fmla="*/ 50 h 459"/>
              <a:gd name="T12" fmla="*/ 98 w 137"/>
              <a:gd name="T13" fmla="*/ 11 h 459"/>
              <a:gd name="T14" fmla="*/ 88 w 137"/>
              <a:gd name="T15" fmla="*/ 0 h 459"/>
              <a:gd name="T16" fmla="*/ 49 w 137"/>
              <a:gd name="T17" fmla="*/ 0 h 459"/>
              <a:gd name="T18" fmla="*/ 38 w 137"/>
              <a:gd name="T19" fmla="*/ 11 h 459"/>
              <a:gd name="T20" fmla="*/ 38 w 137"/>
              <a:gd name="T21" fmla="*/ 50 h 459"/>
              <a:gd name="T22" fmla="*/ 30 w 137"/>
              <a:gd name="T23" fmla="*/ 50 h 459"/>
              <a:gd name="T24" fmla="*/ 19 w 137"/>
              <a:gd name="T25" fmla="*/ 61 h 459"/>
              <a:gd name="T26" fmla="*/ 19 w 137"/>
              <a:gd name="T27" fmla="*/ 127 h 459"/>
              <a:gd name="T28" fmla="*/ 19 w 137"/>
              <a:gd name="T29" fmla="*/ 128 h 459"/>
              <a:gd name="T30" fmla="*/ 11 w 137"/>
              <a:gd name="T31" fmla="*/ 128 h 459"/>
              <a:gd name="T32" fmla="*/ 0 w 137"/>
              <a:gd name="T33" fmla="*/ 139 h 459"/>
              <a:gd name="T34" fmla="*/ 0 w 137"/>
              <a:gd name="T35" fmla="*/ 459 h 459"/>
              <a:gd name="T36" fmla="*/ 137 w 137"/>
              <a:gd name="T37" fmla="*/ 459 h 459"/>
              <a:gd name="T38" fmla="*/ 137 w 137"/>
              <a:gd name="T39" fmla="*/ 139 h 459"/>
              <a:gd name="T40" fmla="*/ 125 w 137"/>
              <a:gd name="T41" fmla="*/ 128 h 4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37" h="459">
                <a:moveTo>
                  <a:pt x="125" y="128"/>
                </a:moveTo>
                <a:cubicBezTo>
                  <a:pt x="117" y="128"/>
                  <a:pt x="117" y="128"/>
                  <a:pt x="117" y="128"/>
                </a:cubicBezTo>
                <a:cubicBezTo>
                  <a:pt x="117" y="128"/>
                  <a:pt x="117" y="128"/>
                  <a:pt x="117" y="127"/>
                </a:cubicBezTo>
                <a:cubicBezTo>
                  <a:pt x="117" y="61"/>
                  <a:pt x="117" y="61"/>
                  <a:pt x="117" y="61"/>
                </a:cubicBezTo>
                <a:cubicBezTo>
                  <a:pt x="117" y="55"/>
                  <a:pt x="112" y="50"/>
                  <a:pt x="106" y="50"/>
                </a:cubicBezTo>
                <a:cubicBezTo>
                  <a:pt x="98" y="50"/>
                  <a:pt x="98" y="50"/>
                  <a:pt x="98" y="50"/>
                </a:cubicBezTo>
                <a:cubicBezTo>
                  <a:pt x="98" y="11"/>
                  <a:pt x="98" y="11"/>
                  <a:pt x="98" y="11"/>
                </a:cubicBezTo>
                <a:cubicBezTo>
                  <a:pt x="98" y="5"/>
                  <a:pt x="94" y="0"/>
                  <a:pt x="88" y="0"/>
                </a:cubicBezTo>
                <a:cubicBezTo>
                  <a:pt x="49" y="0"/>
                  <a:pt x="49" y="0"/>
                  <a:pt x="49" y="0"/>
                </a:cubicBezTo>
                <a:cubicBezTo>
                  <a:pt x="43" y="0"/>
                  <a:pt x="38" y="5"/>
                  <a:pt x="38" y="11"/>
                </a:cubicBezTo>
                <a:cubicBezTo>
                  <a:pt x="38" y="50"/>
                  <a:pt x="38" y="50"/>
                  <a:pt x="38" y="50"/>
                </a:cubicBezTo>
                <a:cubicBezTo>
                  <a:pt x="30" y="50"/>
                  <a:pt x="30" y="50"/>
                  <a:pt x="30" y="50"/>
                </a:cubicBezTo>
                <a:cubicBezTo>
                  <a:pt x="24" y="50"/>
                  <a:pt x="19" y="55"/>
                  <a:pt x="19" y="61"/>
                </a:cubicBezTo>
                <a:cubicBezTo>
                  <a:pt x="19" y="127"/>
                  <a:pt x="19" y="127"/>
                  <a:pt x="19" y="127"/>
                </a:cubicBezTo>
                <a:cubicBezTo>
                  <a:pt x="19" y="128"/>
                  <a:pt x="19" y="128"/>
                  <a:pt x="19" y="128"/>
                </a:cubicBezTo>
                <a:cubicBezTo>
                  <a:pt x="11" y="128"/>
                  <a:pt x="11" y="128"/>
                  <a:pt x="11" y="128"/>
                </a:cubicBezTo>
                <a:cubicBezTo>
                  <a:pt x="5" y="128"/>
                  <a:pt x="0" y="133"/>
                  <a:pt x="0" y="139"/>
                </a:cubicBezTo>
                <a:cubicBezTo>
                  <a:pt x="0" y="459"/>
                  <a:pt x="0" y="459"/>
                  <a:pt x="0" y="459"/>
                </a:cubicBezTo>
                <a:cubicBezTo>
                  <a:pt x="137" y="459"/>
                  <a:pt x="137" y="459"/>
                  <a:pt x="137" y="459"/>
                </a:cubicBezTo>
                <a:cubicBezTo>
                  <a:pt x="137" y="139"/>
                  <a:pt x="137" y="139"/>
                  <a:pt x="137" y="139"/>
                </a:cubicBezTo>
                <a:cubicBezTo>
                  <a:pt x="137" y="133"/>
                  <a:pt x="131" y="128"/>
                  <a:pt x="125" y="128"/>
                </a:cubicBezTo>
                <a:close/>
              </a:path>
            </a:pathLst>
          </a:custGeom>
          <a:solidFill>
            <a:srgbClr val="2E427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4" name="Freeform 30">
            <a:extLst>
              <a:ext uri="{FF2B5EF4-FFF2-40B4-BE49-F238E27FC236}">
                <a16:creationId xmlns="" xmlns:a16="http://schemas.microsoft.com/office/drawing/2014/main" id="{0A593D54-BC06-412E-B97B-A627D206571F}"/>
              </a:ext>
            </a:extLst>
          </p:cNvPr>
          <p:cNvSpPr>
            <a:spLocks/>
          </p:cNvSpPr>
          <p:nvPr/>
        </p:nvSpPr>
        <p:spPr bwMode="auto">
          <a:xfrm>
            <a:off x="11383961" y="4744371"/>
            <a:ext cx="288077" cy="823312"/>
          </a:xfrm>
          <a:custGeom>
            <a:avLst/>
            <a:gdLst>
              <a:gd name="T0" fmla="*/ 220 w 240"/>
              <a:gd name="T1" fmla="*/ 210 h 755"/>
              <a:gd name="T2" fmla="*/ 206 w 240"/>
              <a:gd name="T3" fmla="*/ 210 h 755"/>
              <a:gd name="T4" fmla="*/ 206 w 240"/>
              <a:gd name="T5" fmla="*/ 209 h 755"/>
              <a:gd name="T6" fmla="*/ 206 w 240"/>
              <a:gd name="T7" fmla="*/ 100 h 755"/>
              <a:gd name="T8" fmla="*/ 187 w 240"/>
              <a:gd name="T9" fmla="*/ 82 h 755"/>
              <a:gd name="T10" fmla="*/ 173 w 240"/>
              <a:gd name="T11" fmla="*/ 82 h 755"/>
              <a:gd name="T12" fmla="*/ 173 w 240"/>
              <a:gd name="T13" fmla="*/ 19 h 755"/>
              <a:gd name="T14" fmla="*/ 154 w 240"/>
              <a:gd name="T15" fmla="*/ 0 h 755"/>
              <a:gd name="T16" fmla="*/ 85 w 240"/>
              <a:gd name="T17" fmla="*/ 0 h 755"/>
              <a:gd name="T18" fmla="*/ 67 w 240"/>
              <a:gd name="T19" fmla="*/ 19 h 755"/>
              <a:gd name="T20" fmla="*/ 67 w 240"/>
              <a:gd name="T21" fmla="*/ 82 h 755"/>
              <a:gd name="T22" fmla="*/ 52 w 240"/>
              <a:gd name="T23" fmla="*/ 82 h 755"/>
              <a:gd name="T24" fmla="*/ 34 w 240"/>
              <a:gd name="T25" fmla="*/ 100 h 755"/>
              <a:gd name="T26" fmla="*/ 34 w 240"/>
              <a:gd name="T27" fmla="*/ 209 h 755"/>
              <a:gd name="T28" fmla="*/ 34 w 240"/>
              <a:gd name="T29" fmla="*/ 210 h 755"/>
              <a:gd name="T30" fmla="*/ 19 w 240"/>
              <a:gd name="T31" fmla="*/ 210 h 755"/>
              <a:gd name="T32" fmla="*/ 0 w 240"/>
              <a:gd name="T33" fmla="*/ 229 h 755"/>
              <a:gd name="T34" fmla="*/ 0 w 240"/>
              <a:gd name="T35" fmla="*/ 755 h 755"/>
              <a:gd name="T36" fmla="*/ 240 w 240"/>
              <a:gd name="T37" fmla="*/ 755 h 755"/>
              <a:gd name="T38" fmla="*/ 240 w 240"/>
              <a:gd name="T39" fmla="*/ 229 h 755"/>
              <a:gd name="T40" fmla="*/ 220 w 240"/>
              <a:gd name="T41" fmla="*/ 210 h 7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40" h="755">
                <a:moveTo>
                  <a:pt x="220" y="210"/>
                </a:moveTo>
                <a:cubicBezTo>
                  <a:pt x="206" y="210"/>
                  <a:pt x="206" y="210"/>
                  <a:pt x="206" y="210"/>
                </a:cubicBezTo>
                <a:cubicBezTo>
                  <a:pt x="206" y="209"/>
                  <a:pt x="206" y="209"/>
                  <a:pt x="206" y="209"/>
                </a:cubicBezTo>
                <a:cubicBezTo>
                  <a:pt x="206" y="100"/>
                  <a:pt x="206" y="100"/>
                  <a:pt x="206" y="100"/>
                </a:cubicBezTo>
                <a:cubicBezTo>
                  <a:pt x="206" y="90"/>
                  <a:pt x="197" y="82"/>
                  <a:pt x="187" y="82"/>
                </a:cubicBezTo>
                <a:cubicBezTo>
                  <a:pt x="173" y="82"/>
                  <a:pt x="173" y="82"/>
                  <a:pt x="173" y="82"/>
                </a:cubicBezTo>
                <a:cubicBezTo>
                  <a:pt x="173" y="19"/>
                  <a:pt x="173" y="19"/>
                  <a:pt x="173" y="19"/>
                </a:cubicBezTo>
                <a:cubicBezTo>
                  <a:pt x="173" y="9"/>
                  <a:pt x="164" y="0"/>
                  <a:pt x="154" y="0"/>
                </a:cubicBezTo>
                <a:cubicBezTo>
                  <a:pt x="85" y="0"/>
                  <a:pt x="85" y="0"/>
                  <a:pt x="85" y="0"/>
                </a:cubicBezTo>
                <a:cubicBezTo>
                  <a:pt x="75" y="0"/>
                  <a:pt x="67" y="9"/>
                  <a:pt x="67" y="19"/>
                </a:cubicBezTo>
                <a:cubicBezTo>
                  <a:pt x="67" y="82"/>
                  <a:pt x="67" y="82"/>
                  <a:pt x="67" y="82"/>
                </a:cubicBezTo>
                <a:cubicBezTo>
                  <a:pt x="52" y="82"/>
                  <a:pt x="52" y="82"/>
                  <a:pt x="52" y="82"/>
                </a:cubicBezTo>
                <a:cubicBezTo>
                  <a:pt x="42" y="82"/>
                  <a:pt x="34" y="90"/>
                  <a:pt x="34" y="100"/>
                </a:cubicBezTo>
                <a:cubicBezTo>
                  <a:pt x="34" y="209"/>
                  <a:pt x="34" y="209"/>
                  <a:pt x="34" y="209"/>
                </a:cubicBezTo>
                <a:cubicBezTo>
                  <a:pt x="34" y="209"/>
                  <a:pt x="34" y="209"/>
                  <a:pt x="34" y="210"/>
                </a:cubicBezTo>
                <a:cubicBezTo>
                  <a:pt x="19" y="210"/>
                  <a:pt x="19" y="210"/>
                  <a:pt x="19" y="210"/>
                </a:cubicBezTo>
                <a:cubicBezTo>
                  <a:pt x="8" y="210"/>
                  <a:pt x="0" y="218"/>
                  <a:pt x="0" y="229"/>
                </a:cubicBezTo>
                <a:cubicBezTo>
                  <a:pt x="0" y="755"/>
                  <a:pt x="0" y="755"/>
                  <a:pt x="0" y="755"/>
                </a:cubicBezTo>
                <a:cubicBezTo>
                  <a:pt x="240" y="755"/>
                  <a:pt x="240" y="755"/>
                  <a:pt x="240" y="755"/>
                </a:cubicBezTo>
                <a:cubicBezTo>
                  <a:pt x="240" y="229"/>
                  <a:pt x="240" y="229"/>
                  <a:pt x="240" y="229"/>
                </a:cubicBezTo>
                <a:cubicBezTo>
                  <a:pt x="240" y="218"/>
                  <a:pt x="231" y="210"/>
                  <a:pt x="220" y="210"/>
                </a:cubicBezTo>
                <a:close/>
              </a:path>
            </a:pathLst>
          </a:custGeom>
          <a:solidFill>
            <a:srgbClr val="24366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5" name="Freeform 31">
            <a:extLst>
              <a:ext uri="{FF2B5EF4-FFF2-40B4-BE49-F238E27FC236}">
                <a16:creationId xmlns="" xmlns:a16="http://schemas.microsoft.com/office/drawing/2014/main" id="{C2A2FE42-0883-403C-8F2A-B795E0D23702}"/>
              </a:ext>
            </a:extLst>
          </p:cNvPr>
          <p:cNvSpPr>
            <a:spLocks/>
          </p:cNvSpPr>
          <p:nvPr/>
        </p:nvSpPr>
        <p:spPr bwMode="auto">
          <a:xfrm>
            <a:off x="7739473" y="4616715"/>
            <a:ext cx="295200" cy="959575"/>
          </a:xfrm>
          <a:custGeom>
            <a:avLst/>
            <a:gdLst>
              <a:gd name="T0" fmla="*/ 218 w 246"/>
              <a:gd name="T1" fmla="*/ 0 h 880"/>
              <a:gd name="T2" fmla="*/ 142 w 246"/>
              <a:gd name="T3" fmla="*/ 0 h 880"/>
              <a:gd name="T4" fmla="*/ 114 w 246"/>
              <a:gd name="T5" fmla="*/ 28 h 880"/>
              <a:gd name="T6" fmla="*/ 114 w 246"/>
              <a:gd name="T7" fmla="*/ 125 h 880"/>
              <a:gd name="T8" fmla="*/ 31 w 246"/>
              <a:gd name="T9" fmla="*/ 125 h 880"/>
              <a:gd name="T10" fmla="*/ 0 w 246"/>
              <a:gd name="T11" fmla="*/ 156 h 880"/>
              <a:gd name="T12" fmla="*/ 0 w 246"/>
              <a:gd name="T13" fmla="*/ 880 h 880"/>
              <a:gd name="T14" fmla="*/ 244 w 246"/>
              <a:gd name="T15" fmla="*/ 880 h 880"/>
              <a:gd name="T16" fmla="*/ 244 w 246"/>
              <a:gd name="T17" fmla="*/ 174 h 880"/>
              <a:gd name="T18" fmla="*/ 246 w 246"/>
              <a:gd name="T19" fmla="*/ 164 h 880"/>
              <a:gd name="T20" fmla="*/ 246 w 246"/>
              <a:gd name="T21" fmla="*/ 28 h 880"/>
              <a:gd name="T22" fmla="*/ 218 w 246"/>
              <a:gd name="T23" fmla="*/ 0 h 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46" h="880">
                <a:moveTo>
                  <a:pt x="218" y="0"/>
                </a:moveTo>
                <a:cubicBezTo>
                  <a:pt x="142" y="0"/>
                  <a:pt x="142" y="0"/>
                  <a:pt x="142" y="0"/>
                </a:cubicBezTo>
                <a:cubicBezTo>
                  <a:pt x="127" y="0"/>
                  <a:pt x="114" y="12"/>
                  <a:pt x="114" y="28"/>
                </a:cubicBezTo>
                <a:cubicBezTo>
                  <a:pt x="114" y="125"/>
                  <a:pt x="114" y="125"/>
                  <a:pt x="114" y="125"/>
                </a:cubicBezTo>
                <a:cubicBezTo>
                  <a:pt x="31" y="125"/>
                  <a:pt x="31" y="125"/>
                  <a:pt x="31" y="125"/>
                </a:cubicBezTo>
                <a:cubicBezTo>
                  <a:pt x="14" y="125"/>
                  <a:pt x="0" y="139"/>
                  <a:pt x="0" y="156"/>
                </a:cubicBezTo>
                <a:cubicBezTo>
                  <a:pt x="0" y="880"/>
                  <a:pt x="0" y="880"/>
                  <a:pt x="0" y="880"/>
                </a:cubicBezTo>
                <a:cubicBezTo>
                  <a:pt x="244" y="880"/>
                  <a:pt x="244" y="880"/>
                  <a:pt x="244" y="880"/>
                </a:cubicBezTo>
                <a:cubicBezTo>
                  <a:pt x="244" y="174"/>
                  <a:pt x="244" y="174"/>
                  <a:pt x="244" y="174"/>
                </a:cubicBezTo>
                <a:cubicBezTo>
                  <a:pt x="246" y="171"/>
                  <a:pt x="246" y="167"/>
                  <a:pt x="246" y="164"/>
                </a:cubicBezTo>
                <a:cubicBezTo>
                  <a:pt x="246" y="28"/>
                  <a:pt x="246" y="28"/>
                  <a:pt x="246" y="28"/>
                </a:cubicBezTo>
                <a:cubicBezTo>
                  <a:pt x="246" y="12"/>
                  <a:pt x="234" y="0"/>
                  <a:pt x="218" y="0"/>
                </a:cubicBezTo>
                <a:close/>
              </a:path>
            </a:pathLst>
          </a:custGeom>
          <a:solidFill>
            <a:srgbClr val="2E427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6" name="Freeform 32">
            <a:extLst>
              <a:ext uri="{FF2B5EF4-FFF2-40B4-BE49-F238E27FC236}">
                <a16:creationId xmlns="" xmlns:a16="http://schemas.microsoft.com/office/drawing/2014/main" id="{15699672-32BA-4C39-95D5-6E5136982913}"/>
              </a:ext>
            </a:extLst>
          </p:cNvPr>
          <p:cNvSpPr>
            <a:spLocks/>
          </p:cNvSpPr>
          <p:nvPr/>
        </p:nvSpPr>
        <p:spPr bwMode="auto">
          <a:xfrm>
            <a:off x="8266558" y="4581573"/>
            <a:ext cx="292034" cy="994716"/>
          </a:xfrm>
          <a:custGeom>
            <a:avLst/>
            <a:gdLst>
              <a:gd name="T0" fmla="*/ 213 w 244"/>
              <a:gd name="T1" fmla="*/ 157 h 912"/>
              <a:gd name="T2" fmla="*/ 132 w 244"/>
              <a:gd name="T3" fmla="*/ 157 h 912"/>
              <a:gd name="T4" fmla="*/ 132 w 244"/>
              <a:gd name="T5" fmla="*/ 28 h 912"/>
              <a:gd name="T6" fmla="*/ 104 w 244"/>
              <a:gd name="T7" fmla="*/ 0 h 912"/>
              <a:gd name="T8" fmla="*/ 28 w 244"/>
              <a:gd name="T9" fmla="*/ 0 h 912"/>
              <a:gd name="T10" fmla="*/ 0 w 244"/>
              <a:gd name="T11" fmla="*/ 28 h 912"/>
              <a:gd name="T12" fmla="*/ 0 w 244"/>
              <a:gd name="T13" fmla="*/ 164 h 912"/>
              <a:gd name="T14" fmla="*/ 3 w 244"/>
              <a:gd name="T15" fmla="*/ 176 h 912"/>
              <a:gd name="T16" fmla="*/ 0 w 244"/>
              <a:gd name="T17" fmla="*/ 188 h 912"/>
              <a:gd name="T18" fmla="*/ 0 w 244"/>
              <a:gd name="T19" fmla="*/ 912 h 912"/>
              <a:gd name="T20" fmla="*/ 244 w 244"/>
              <a:gd name="T21" fmla="*/ 912 h 912"/>
              <a:gd name="T22" fmla="*/ 244 w 244"/>
              <a:gd name="T23" fmla="*/ 188 h 912"/>
              <a:gd name="T24" fmla="*/ 213 w 244"/>
              <a:gd name="T25" fmla="*/ 157 h 9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4" h="912">
                <a:moveTo>
                  <a:pt x="213" y="157"/>
                </a:moveTo>
                <a:cubicBezTo>
                  <a:pt x="132" y="157"/>
                  <a:pt x="132" y="157"/>
                  <a:pt x="132" y="157"/>
                </a:cubicBezTo>
                <a:cubicBezTo>
                  <a:pt x="132" y="28"/>
                  <a:pt x="132" y="28"/>
                  <a:pt x="132" y="28"/>
                </a:cubicBezTo>
                <a:cubicBezTo>
                  <a:pt x="132" y="12"/>
                  <a:pt x="120" y="0"/>
                  <a:pt x="104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13" y="0"/>
                  <a:pt x="0" y="12"/>
                  <a:pt x="0" y="28"/>
                </a:cubicBezTo>
                <a:cubicBezTo>
                  <a:pt x="0" y="164"/>
                  <a:pt x="0" y="164"/>
                  <a:pt x="0" y="164"/>
                </a:cubicBezTo>
                <a:cubicBezTo>
                  <a:pt x="0" y="168"/>
                  <a:pt x="1" y="172"/>
                  <a:pt x="3" y="176"/>
                </a:cubicBezTo>
                <a:cubicBezTo>
                  <a:pt x="1" y="180"/>
                  <a:pt x="0" y="184"/>
                  <a:pt x="0" y="188"/>
                </a:cubicBezTo>
                <a:cubicBezTo>
                  <a:pt x="0" y="912"/>
                  <a:pt x="0" y="912"/>
                  <a:pt x="0" y="912"/>
                </a:cubicBezTo>
                <a:cubicBezTo>
                  <a:pt x="244" y="912"/>
                  <a:pt x="244" y="912"/>
                  <a:pt x="244" y="912"/>
                </a:cubicBezTo>
                <a:cubicBezTo>
                  <a:pt x="244" y="188"/>
                  <a:pt x="244" y="188"/>
                  <a:pt x="244" y="188"/>
                </a:cubicBezTo>
                <a:cubicBezTo>
                  <a:pt x="244" y="171"/>
                  <a:pt x="230" y="157"/>
                  <a:pt x="213" y="157"/>
                </a:cubicBezTo>
                <a:close/>
              </a:path>
            </a:pathLst>
          </a:custGeom>
          <a:solidFill>
            <a:srgbClr val="2E427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7" name="Freeform 33">
            <a:extLst>
              <a:ext uri="{FF2B5EF4-FFF2-40B4-BE49-F238E27FC236}">
                <a16:creationId xmlns="" xmlns:a16="http://schemas.microsoft.com/office/drawing/2014/main" id="{0A36487F-F621-4A11-84CF-FCD2030A8A27}"/>
              </a:ext>
            </a:extLst>
          </p:cNvPr>
          <p:cNvSpPr>
            <a:spLocks/>
          </p:cNvSpPr>
          <p:nvPr/>
        </p:nvSpPr>
        <p:spPr bwMode="auto">
          <a:xfrm>
            <a:off x="10744200" y="4572000"/>
            <a:ext cx="441612" cy="961009"/>
          </a:xfrm>
          <a:custGeom>
            <a:avLst/>
            <a:gdLst>
              <a:gd name="T0" fmla="*/ 330 w 368"/>
              <a:gd name="T1" fmla="*/ 19 h 881"/>
              <a:gd name="T2" fmla="*/ 318 w 368"/>
              <a:gd name="T3" fmla="*/ 14 h 881"/>
              <a:gd name="T4" fmla="*/ 240 w 368"/>
              <a:gd name="T5" fmla="*/ 69 h 881"/>
              <a:gd name="T6" fmla="*/ 240 w 368"/>
              <a:gd name="T7" fmla="*/ 91 h 881"/>
              <a:gd name="T8" fmla="*/ 182 w 368"/>
              <a:gd name="T9" fmla="*/ 149 h 881"/>
              <a:gd name="T10" fmla="*/ 58 w 368"/>
              <a:gd name="T11" fmla="*/ 149 h 881"/>
              <a:gd name="T12" fmla="*/ 0 w 368"/>
              <a:gd name="T13" fmla="*/ 207 h 881"/>
              <a:gd name="T14" fmla="*/ 0 w 368"/>
              <a:gd name="T15" fmla="*/ 353 h 881"/>
              <a:gd name="T16" fmla="*/ 0 w 368"/>
              <a:gd name="T17" fmla="*/ 881 h 881"/>
              <a:gd name="T18" fmla="*/ 368 w 368"/>
              <a:gd name="T19" fmla="*/ 881 h 881"/>
              <a:gd name="T20" fmla="*/ 368 w 368"/>
              <a:gd name="T21" fmla="*/ 73 h 881"/>
              <a:gd name="T22" fmla="*/ 330 w 368"/>
              <a:gd name="T23" fmla="*/ 19 h 8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68" h="881">
                <a:moveTo>
                  <a:pt x="330" y="19"/>
                </a:moveTo>
                <a:cubicBezTo>
                  <a:pt x="318" y="14"/>
                  <a:pt x="318" y="14"/>
                  <a:pt x="318" y="14"/>
                </a:cubicBezTo>
                <a:cubicBezTo>
                  <a:pt x="280" y="0"/>
                  <a:pt x="240" y="28"/>
                  <a:pt x="240" y="69"/>
                </a:cubicBezTo>
                <a:cubicBezTo>
                  <a:pt x="240" y="91"/>
                  <a:pt x="240" y="91"/>
                  <a:pt x="240" y="91"/>
                </a:cubicBezTo>
                <a:cubicBezTo>
                  <a:pt x="240" y="123"/>
                  <a:pt x="214" y="149"/>
                  <a:pt x="182" y="149"/>
                </a:cubicBezTo>
                <a:cubicBezTo>
                  <a:pt x="58" y="149"/>
                  <a:pt x="58" y="149"/>
                  <a:pt x="58" y="149"/>
                </a:cubicBezTo>
                <a:cubicBezTo>
                  <a:pt x="26" y="149"/>
                  <a:pt x="0" y="175"/>
                  <a:pt x="0" y="207"/>
                </a:cubicBezTo>
                <a:cubicBezTo>
                  <a:pt x="0" y="353"/>
                  <a:pt x="0" y="353"/>
                  <a:pt x="0" y="353"/>
                </a:cubicBezTo>
                <a:cubicBezTo>
                  <a:pt x="0" y="881"/>
                  <a:pt x="0" y="881"/>
                  <a:pt x="0" y="881"/>
                </a:cubicBezTo>
                <a:cubicBezTo>
                  <a:pt x="368" y="881"/>
                  <a:pt x="368" y="881"/>
                  <a:pt x="368" y="881"/>
                </a:cubicBezTo>
                <a:cubicBezTo>
                  <a:pt x="368" y="73"/>
                  <a:pt x="368" y="73"/>
                  <a:pt x="368" y="73"/>
                </a:cubicBezTo>
                <a:cubicBezTo>
                  <a:pt x="368" y="49"/>
                  <a:pt x="353" y="27"/>
                  <a:pt x="330" y="19"/>
                </a:cubicBezTo>
                <a:close/>
              </a:path>
            </a:pathLst>
          </a:custGeom>
          <a:solidFill>
            <a:srgbClr val="24366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08" name="Freeform 34">
            <a:extLst>
              <a:ext uri="{FF2B5EF4-FFF2-40B4-BE49-F238E27FC236}">
                <a16:creationId xmlns="" xmlns:a16="http://schemas.microsoft.com/office/drawing/2014/main" id="{2CC9A12E-D823-424D-BB76-38E5B3104AB4}"/>
              </a:ext>
            </a:extLst>
          </p:cNvPr>
          <p:cNvSpPr>
            <a:spLocks/>
          </p:cNvSpPr>
          <p:nvPr/>
        </p:nvSpPr>
        <p:spPr bwMode="auto">
          <a:xfrm>
            <a:off x="6538889" y="4977452"/>
            <a:ext cx="116339" cy="598838"/>
          </a:xfrm>
          <a:custGeom>
            <a:avLst/>
            <a:gdLst>
              <a:gd name="T0" fmla="*/ 76 w 97"/>
              <a:gd name="T1" fmla="*/ 157 h 549"/>
              <a:gd name="T2" fmla="*/ 59 w 97"/>
              <a:gd name="T3" fmla="*/ 157 h 549"/>
              <a:gd name="T4" fmla="*/ 59 w 97"/>
              <a:gd name="T5" fmla="*/ 157 h 549"/>
              <a:gd name="T6" fmla="*/ 59 w 97"/>
              <a:gd name="T7" fmla="*/ 11 h 549"/>
              <a:gd name="T8" fmla="*/ 48 w 97"/>
              <a:gd name="T9" fmla="*/ 0 h 549"/>
              <a:gd name="T10" fmla="*/ 37 w 97"/>
              <a:gd name="T11" fmla="*/ 11 h 549"/>
              <a:gd name="T12" fmla="*/ 37 w 97"/>
              <a:gd name="T13" fmla="*/ 157 h 549"/>
              <a:gd name="T14" fmla="*/ 37 w 97"/>
              <a:gd name="T15" fmla="*/ 157 h 549"/>
              <a:gd name="T16" fmla="*/ 21 w 97"/>
              <a:gd name="T17" fmla="*/ 157 h 549"/>
              <a:gd name="T18" fmla="*/ 0 w 97"/>
              <a:gd name="T19" fmla="*/ 178 h 549"/>
              <a:gd name="T20" fmla="*/ 0 w 97"/>
              <a:gd name="T21" fmla="*/ 549 h 549"/>
              <a:gd name="T22" fmla="*/ 97 w 97"/>
              <a:gd name="T23" fmla="*/ 549 h 549"/>
              <a:gd name="T24" fmla="*/ 97 w 97"/>
              <a:gd name="T25" fmla="*/ 178 h 549"/>
              <a:gd name="T26" fmla="*/ 76 w 97"/>
              <a:gd name="T27" fmla="*/ 157 h 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97" h="549">
                <a:moveTo>
                  <a:pt x="76" y="157"/>
                </a:moveTo>
                <a:cubicBezTo>
                  <a:pt x="59" y="157"/>
                  <a:pt x="59" y="157"/>
                  <a:pt x="59" y="157"/>
                </a:cubicBezTo>
                <a:cubicBezTo>
                  <a:pt x="59" y="157"/>
                  <a:pt x="59" y="157"/>
                  <a:pt x="59" y="157"/>
                </a:cubicBezTo>
                <a:cubicBezTo>
                  <a:pt x="59" y="11"/>
                  <a:pt x="59" y="11"/>
                  <a:pt x="59" y="11"/>
                </a:cubicBezTo>
                <a:cubicBezTo>
                  <a:pt x="59" y="5"/>
                  <a:pt x="54" y="0"/>
                  <a:pt x="48" y="0"/>
                </a:cubicBezTo>
                <a:cubicBezTo>
                  <a:pt x="42" y="0"/>
                  <a:pt x="37" y="5"/>
                  <a:pt x="37" y="11"/>
                </a:cubicBezTo>
                <a:cubicBezTo>
                  <a:pt x="37" y="157"/>
                  <a:pt x="37" y="157"/>
                  <a:pt x="37" y="157"/>
                </a:cubicBezTo>
                <a:cubicBezTo>
                  <a:pt x="37" y="157"/>
                  <a:pt x="37" y="157"/>
                  <a:pt x="37" y="157"/>
                </a:cubicBezTo>
                <a:cubicBezTo>
                  <a:pt x="21" y="157"/>
                  <a:pt x="21" y="157"/>
                  <a:pt x="21" y="157"/>
                </a:cubicBezTo>
                <a:cubicBezTo>
                  <a:pt x="9" y="157"/>
                  <a:pt x="0" y="166"/>
                  <a:pt x="0" y="178"/>
                </a:cubicBezTo>
                <a:cubicBezTo>
                  <a:pt x="0" y="549"/>
                  <a:pt x="0" y="549"/>
                  <a:pt x="0" y="549"/>
                </a:cubicBezTo>
                <a:cubicBezTo>
                  <a:pt x="97" y="549"/>
                  <a:pt x="97" y="549"/>
                  <a:pt x="97" y="549"/>
                </a:cubicBezTo>
                <a:cubicBezTo>
                  <a:pt x="97" y="178"/>
                  <a:pt x="97" y="178"/>
                  <a:pt x="97" y="178"/>
                </a:cubicBezTo>
                <a:cubicBezTo>
                  <a:pt x="97" y="166"/>
                  <a:pt x="87" y="157"/>
                  <a:pt x="76" y="157"/>
                </a:cubicBezTo>
                <a:close/>
              </a:path>
            </a:pathLst>
          </a:custGeom>
          <a:solidFill>
            <a:srgbClr val="2E427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pSp>
        <p:nvGrpSpPr>
          <p:cNvPr id="110" name="Group 109">
            <a:extLst>
              <a:ext uri="{FF2B5EF4-FFF2-40B4-BE49-F238E27FC236}">
                <a16:creationId xmlns="" xmlns:a16="http://schemas.microsoft.com/office/drawing/2014/main" id="{EA2B7429-2F08-417C-BE85-5FA3EA92E6CB}"/>
              </a:ext>
            </a:extLst>
          </p:cNvPr>
          <p:cNvGrpSpPr/>
          <p:nvPr/>
        </p:nvGrpSpPr>
        <p:grpSpPr>
          <a:xfrm>
            <a:off x="11246253" y="4753694"/>
            <a:ext cx="95762" cy="804666"/>
            <a:chOff x="-3858872" y="3298830"/>
            <a:chExt cx="192088" cy="1781178"/>
          </a:xfrm>
          <a:solidFill>
            <a:srgbClr val="000000">
              <a:alpha val="10196"/>
            </a:srgbClr>
          </a:solidFill>
        </p:grpSpPr>
        <p:sp>
          <p:nvSpPr>
            <p:cNvPr id="111" name="Freeform 53">
              <a:extLst>
                <a:ext uri="{FF2B5EF4-FFF2-40B4-BE49-F238E27FC236}">
                  <a16:creationId xmlns="" xmlns:a16="http://schemas.microsoft.com/office/drawing/2014/main" id="{A8DCE5C0-0267-42DF-9732-46B0AE7B3AF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872" y="3298830"/>
              <a:ext cx="192088" cy="53975"/>
            </a:xfrm>
            <a:custGeom>
              <a:avLst/>
              <a:gdLst>
                <a:gd name="T0" fmla="*/ 74 w 80"/>
                <a:gd name="T1" fmla="*/ 0 h 22"/>
                <a:gd name="T2" fmla="*/ 5 w 80"/>
                <a:gd name="T3" fmla="*/ 0 h 22"/>
                <a:gd name="T4" fmla="*/ 0 w 80"/>
                <a:gd name="T5" fmla="*/ 11 h 22"/>
                <a:gd name="T6" fmla="*/ 5 w 80"/>
                <a:gd name="T7" fmla="*/ 22 h 22"/>
                <a:gd name="T8" fmla="*/ 74 w 80"/>
                <a:gd name="T9" fmla="*/ 22 h 22"/>
                <a:gd name="T10" fmla="*/ 80 w 80"/>
                <a:gd name="T11" fmla="*/ 11 h 22"/>
                <a:gd name="T12" fmla="*/ 74 w 8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2">
                  <a:moveTo>
                    <a:pt x="7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5"/>
                    <a:pt x="0" y="11"/>
                  </a:cubicBezTo>
                  <a:cubicBezTo>
                    <a:pt x="0" y="17"/>
                    <a:pt x="2" y="22"/>
                    <a:pt x="5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7" y="22"/>
                    <a:pt x="80" y="17"/>
                    <a:pt x="80" y="11"/>
                  </a:cubicBezTo>
                  <a:cubicBezTo>
                    <a:pt x="80" y="5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2" name="Freeform 54">
              <a:extLst>
                <a:ext uri="{FF2B5EF4-FFF2-40B4-BE49-F238E27FC236}">
                  <a16:creationId xmlns="" xmlns:a16="http://schemas.microsoft.com/office/drawing/2014/main" id="{193158D9-82CD-484C-81C5-E872036FC77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872" y="3414717"/>
              <a:ext cx="192088" cy="53975"/>
            </a:xfrm>
            <a:custGeom>
              <a:avLst/>
              <a:gdLst>
                <a:gd name="T0" fmla="*/ 74 w 80"/>
                <a:gd name="T1" fmla="*/ 0 h 22"/>
                <a:gd name="T2" fmla="*/ 5 w 80"/>
                <a:gd name="T3" fmla="*/ 0 h 22"/>
                <a:gd name="T4" fmla="*/ 0 w 80"/>
                <a:gd name="T5" fmla="*/ 11 h 22"/>
                <a:gd name="T6" fmla="*/ 5 w 80"/>
                <a:gd name="T7" fmla="*/ 22 h 22"/>
                <a:gd name="T8" fmla="*/ 74 w 80"/>
                <a:gd name="T9" fmla="*/ 22 h 22"/>
                <a:gd name="T10" fmla="*/ 80 w 80"/>
                <a:gd name="T11" fmla="*/ 11 h 22"/>
                <a:gd name="T12" fmla="*/ 74 w 8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2">
                  <a:moveTo>
                    <a:pt x="7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5"/>
                    <a:pt x="0" y="11"/>
                  </a:cubicBezTo>
                  <a:cubicBezTo>
                    <a:pt x="0" y="17"/>
                    <a:pt x="2" y="22"/>
                    <a:pt x="5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7" y="22"/>
                    <a:pt x="80" y="17"/>
                    <a:pt x="80" y="11"/>
                  </a:cubicBezTo>
                  <a:cubicBezTo>
                    <a:pt x="80" y="5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3" name="Freeform 55">
              <a:extLst>
                <a:ext uri="{FF2B5EF4-FFF2-40B4-BE49-F238E27FC236}">
                  <a16:creationId xmlns="" xmlns:a16="http://schemas.microsoft.com/office/drawing/2014/main" id="{9F391423-11AC-4286-8D4D-6E45214B971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872" y="3532193"/>
              <a:ext cx="192088" cy="49213"/>
            </a:xfrm>
            <a:custGeom>
              <a:avLst/>
              <a:gdLst>
                <a:gd name="T0" fmla="*/ 74 w 80"/>
                <a:gd name="T1" fmla="*/ 0 h 21"/>
                <a:gd name="T2" fmla="*/ 5 w 80"/>
                <a:gd name="T3" fmla="*/ 0 h 21"/>
                <a:gd name="T4" fmla="*/ 0 w 80"/>
                <a:gd name="T5" fmla="*/ 11 h 21"/>
                <a:gd name="T6" fmla="*/ 5 w 80"/>
                <a:gd name="T7" fmla="*/ 21 h 21"/>
                <a:gd name="T8" fmla="*/ 74 w 80"/>
                <a:gd name="T9" fmla="*/ 21 h 21"/>
                <a:gd name="T10" fmla="*/ 80 w 80"/>
                <a:gd name="T11" fmla="*/ 11 h 21"/>
                <a:gd name="T12" fmla="*/ 74 w 80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1">
                  <a:moveTo>
                    <a:pt x="7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4"/>
                    <a:pt x="0" y="11"/>
                  </a:cubicBezTo>
                  <a:cubicBezTo>
                    <a:pt x="0" y="17"/>
                    <a:pt x="2" y="21"/>
                    <a:pt x="5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7" y="21"/>
                    <a:pt x="80" y="17"/>
                    <a:pt x="80" y="11"/>
                  </a:cubicBezTo>
                  <a:cubicBezTo>
                    <a:pt x="80" y="4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4" name="Freeform 56">
              <a:extLst>
                <a:ext uri="{FF2B5EF4-FFF2-40B4-BE49-F238E27FC236}">
                  <a16:creationId xmlns="" xmlns:a16="http://schemas.microsoft.com/office/drawing/2014/main" id="{B08040B4-93C2-4659-9025-744AE27CAF6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872" y="3644905"/>
              <a:ext cx="192088" cy="52388"/>
            </a:xfrm>
            <a:custGeom>
              <a:avLst/>
              <a:gdLst>
                <a:gd name="T0" fmla="*/ 74 w 80"/>
                <a:gd name="T1" fmla="*/ 0 h 22"/>
                <a:gd name="T2" fmla="*/ 5 w 80"/>
                <a:gd name="T3" fmla="*/ 0 h 22"/>
                <a:gd name="T4" fmla="*/ 0 w 80"/>
                <a:gd name="T5" fmla="*/ 11 h 22"/>
                <a:gd name="T6" fmla="*/ 5 w 80"/>
                <a:gd name="T7" fmla="*/ 22 h 22"/>
                <a:gd name="T8" fmla="*/ 74 w 80"/>
                <a:gd name="T9" fmla="*/ 22 h 22"/>
                <a:gd name="T10" fmla="*/ 80 w 80"/>
                <a:gd name="T11" fmla="*/ 11 h 22"/>
                <a:gd name="T12" fmla="*/ 74 w 8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2">
                  <a:moveTo>
                    <a:pt x="7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5"/>
                    <a:pt x="0" y="11"/>
                  </a:cubicBezTo>
                  <a:cubicBezTo>
                    <a:pt x="0" y="17"/>
                    <a:pt x="2" y="22"/>
                    <a:pt x="5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7" y="22"/>
                    <a:pt x="80" y="17"/>
                    <a:pt x="80" y="11"/>
                  </a:cubicBezTo>
                  <a:cubicBezTo>
                    <a:pt x="80" y="5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5" name="Freeform 57">
              <a:extLst>
                <a:ext uri="{FF2B5EF4-FFF2-40B4-BE49-F238E27FC236}">
                  <a16:creationId xmlns="" xmlns:a16="http://schemas.microsoft.com/office/drawing/2014/main" id="{D1B13DB2-A09E-4589-B436-29CADA44471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872" y="3760793"/>
              <a:ext cx="192088" cy="52388"/>
            </a:xfrm>
            <a:custGeom>
              <a:avLst/>
              <a:gdLst>
                <a:gd name="T0" fmla="*/ 74 w 80"/>
                <a:gd name="T1" fmla="*/ 0 h 22"/>
                <a:gd name="T2" fmla="*/ 5 w 80"/>
                <a:gd name="T3" fmla="*/ 0 h 22"/>
                <a:gd name="T4" fmla="*/ 0 w 80"/>
                <a:gd name="T5" fmla="*/ 11 h 22"/>
                <a:gd name="T6" fmla="*/ 5 w 80"/>
                <a:gd name="T7" fmla="*/ 22 h 22"/>
                <a:gd name="T8" fmla="*/ 74 w 80"/>
                <a:gd name="T9" fmla="*/ 22 h 22"/>
                <a:gd name="T10" fmla="*/ 80 w 80"/>
                <a:gd name="T11" fmla="*/ 11 h 22"/>
                <a:gd name="T12" fmla="*/ 74 w 8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2">
                  <a:moveTo>
                    <a:pt x="7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5"/>
                    <a:pt x="0" y="11"/>
                  </a:cubicBezTo>
                  <a:cubicBezTo>
                    <a:pt x="0" y="17"/>
                    <a:pt x="2" y="22"/>
                    <a:pt x="5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7" y="22"/>
                    <a:pt x="80" y="17"/>
                    <a:pt x="80" y="11"/>
                  </a:cubicBezTo>
                  <a:cubicBezTo>
                    <a:pt x="80" y="5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6" name="Freeform 58">
              <a:extLst>
                <a:ext uri="{FF2B5EF4-FFF2-40B4-BE49-F238E27FC236}">
                  <a16:creationId xmlns="" xmlns:a16="http://schemas.microsoft.com/office/drawing/2014/main" id="{AA2EF0CB-B67B-43D4-9696-6CBC2AD4ADB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872" y="3876681"/>
              <a:ext cx="192088" cy="50800"/>
            </a:xfrm>
            <a:custGeom>
              <a:avLst/>
              <a:gdLst>
                <a:gd name="T0" fmla="*/ 74 w 80"/>
                <a:gd name="T1" fmla="*/ 0 h 21"/>
                <a:gd name="T2" fmla="*/ 5 w 80"/>
                <a:gd name="T3" fmla="*/ 0 h 21"/>
                <a:gd name="T4" fmla="*/ 0 w 80"/>
                <a:gd name="T5" fmla="*/ 11 h 21"/>
                <a:gd name="T6" fmla="*/ 5 w 80"/>
                <a:gd name="T7" fmla="*/ 21 h 21"/>
                <a:gd name="T8" fmla="*/ 74 w 80"/>
                <a:gd name="T9" fmla="*/ 21 h 21"/>
                <a:gd name="T10" fmla="*/ 80 w 80"/>
                <a:gd name="T11" fmla="*/ 11 h 21"/>
                <a:gd name="T12" fmla="*/ 74 w 80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1">
                  <a:moveTo>
                    <a:pt x="7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4"/>
                    <a:pt x="0" y="11"/>
                  </a:cubicBezTo>
                  <a:cubicBezTo>
                    <a:pt x="0" y="17"/>
                    <a:pt x="2" y="21"/>
                    <a:pt x="5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7" y="21"/>
                    <a:pt x="80" y="17"/>
                    <a:pt x="80" y="11"/>
                  </a:cubicBezTo>
                  <a:cubicBezTo>
                    <a:pt x="80" y="4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7" name="Freeform 59">
              <a:extLst>
                <a:ext uri="{FF2B5EF4-FFF2-40B4-BE49-F238E27FC236}">
                  <a16:creationId xmlns="" xmlns:a16="http://schemas.microsoft.com/office/drawing/2014/main" id="{B209CCE5-0238-4EE0-8881-09B3919222E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872" y="3990981"/>
              <a:ext cx="192088" cy="52388"/>
            </a:xfrm>
            <a:custGeom>
              <a:avLst/>
              <a:gdLst>
                <a:gd name="T0" fmla="*/ 74 w 80"/>
                <a:gd name="T1" fmla="*/ 0 h 22"/>
                <a:gd name="T2" fmla="*/ 5 w 80"/>
                <a:gd name="T3" fmla="*/ 0 h 22"/>
                <a:gd name="T4" fmla="*/ 0 w 80"/>
                <a:gd name="T5" fmla="*/ 11 h 22"/>
                <a:gd name="T6" fmla="*/ 5 w 80"/>
                <a:gd name="T7" fmla="*/ 22 h 22"/>
                <a:gd name="T8" fmla="*/ 74 w 80"/>
                <a:gd name="T9" fmla="*/ 22 h 22"/>
                <a:gd name="T10" fmla="*/ 80 w 80"/>
                <a:gd name="T11" fmla="*/ 11 h 22"/>
                <a:gd name="T12" fmla="*/ 74 w 8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2">
                  <a:moveTo>
                    <a:pt x="7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5"/>
                    <a:pt x="0" y="11"/>
                  </a:cubicBezTo>
                  <a:cubicBezTo>
                    <a:pt x="0" y="17"/>
                    <a:pt x="2" y="22"/>
                    <a:pt x="5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7" y="22"/>
                    <a:pt x="80" y="17"/>
                    <a:pt x="80" y="11"/>
                  </a:cubicBezTo>
                  <a:cubicBezTo>
                    <a:pt x="80" y="5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8" name="Freeform 60">
              <a:extLst>
                <a:ext uri="{FF2B5EF4-FFF2-40B4-BE49-F238E27FC236}">
                  <a16:creationId xmlns="" xmlns:a16="http://schemas.microsoft.com/office/drawing/2014/main" id="{C115A536-A64B-4718-9DE9-C9796A33478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872" y="4106869"/>
              <a:ext cx="192088" cy="52388"/>
            </a:xfrm>
            <a:custGeom>
              <a:avLst/>
              <a:gdLst>
                <a:gd name="T0" fmla="*/ 74 w 80"/>
                <a:gd name="T1" fmla="*/ 0 h 22"/>
                <a:gd name="T2" fmla="*/ 5 w 80"/>
                <a:gd name="T3" fmla="*/ 0 h 22"/>
                <a:gd name="T4" fmla="*/ 0 w 80"/>
                <a:gd name="T5" fmla="*/ 11 h 22"/>
                <a:gd name="T6" fmla="*/ 5 w 80"/>
                <a:gd name="T7" fmla="*/ 22 h 22"/>
                <a:gd name="T8" fmla="*/ 74 w 80"/>
                <a:gd name="T9" fmla="*/ 22 h 22"/>
                <a:gd name="T10" fmla="*/ 80 w 80"/>
                <a:gd name="T11" fmla="*/ 11 h 22"/>
                <a:gd name="T12" fmla="*/ 74 w 8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2">
                  <a:moveTo>
                    <a:pt x="7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5"/>
                    <a:pt x="0" y="11"/>
                  </a:cubicBezTo>
                  <a:cubicBezTo>
                    <a:pt x="0" y="17"/>
                    <a:pt x="2" y="22"/>
                    <a:pt x="5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7" y="22"/>
                    <a:pt x="80" y="17"/>
                    <a:pt x="80" y="11"/>
                  </a:cubicBezTo>
                  <a:cubicBezTo>
                    <a:pt x="80" y="5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19" name="Freeform 61">
              <a:extLst>
                <a:ext uri="{FF2B5EF4-FFF2-40B4-BE49-F238E27FC236}">
                  <a16:creationId xmlns="" xmlns:a16="http://schemas.microsoft.com/office/drawing/2014/main" id="{867169D8-BFB0-4BB7-B731-18109463DE3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872" y="4222756"/>
              <a:ext cx="192088" cy="50800"/>
            </a:xfrm>
            <a:custGeom>
              <a:avLst/>
              <a:gdLst>
                <a:gd name="T0" fmla="*/ 74 w 80"/>
                <a:gd name="T1" fmla="*/ 0 h 21"/>
                <a:gd name="T2" fmla="*/ 5 w 80"/>
                <a:gd name="T3" fmla="*/ 0 h 21"/>
                <a:gd name="T4" fmla="*/ 0 w 80"/>
                <a:gd name="T5" fmla="*/ 11 h 21"/>
                <a:gd name="T6" fmla="*/ 5 w 80"/>
                <a:gd name="T7" fmla="*/ 21 h 21"/>
                <a:gd name="T8" fmla="*/ 74 w 80"/>
                <a:gd name="T9" fmla="*/ 21 h 21"/>
                <a:gd name="T10" fmla="*/ 80 w 80"/>
                <a:gd name="T11" fmla="*/ 11 h 21"/>
                <a:gd name="T12" fmla="*/ 74 w 80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1">
                  <a:moveTo>
                    <a:pt x="7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4"/>
                    <a:pt x="0" y="11"/>
                  </a:cubicBezTo>
                  <a:cubicBezTo>
                    <a:pt x="0" y="17"/>
                    <a:pt x="2" y="21"/>
                    <a:pt x="5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7" y="21"/>
                    <a:pt x="80" y="17"/>
                    <a:pt x="80" y="11"/>
                  </a:cubicBezTo>
                  <a:cubicBezTo>
                    <a:pt x="80" y="4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20" name="Freeform 62">
              <a:extLst>
                <a:ext uri="{FF2B5EF4-FFF2-40B4-BE49-F238E27FC236}">
                  <a16:creationId xmlns="" xmlns:a16="http://schemas.microsoft.com/office/drawing/2014/main" id="{50538663-75F2-42B0-AF4F-F6ABAC84A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872" y="4335469"/>
              <a:ext cx="192088" cy="53975"/>
            </a:xfrm>
            <a:custGeom>
              <a:avLst/>
              <a:gdLst>
                <a:gd name="T0" fmla="*/ 74 w 80"/>
                <a:gd name="T1" fmla="*/ 0 h 22"/>
                <a:gd name="T2" fmla="*/ 5 w 80"/>
                <a:gd name="T3" fmla="*/ 0 h 22"/>
                <a:gd name="T4" fmla="*/ 0 w 80"/>
                <a:gd name="T5" fmla="*/ 11 h 22"/>
                <a:gd name="T6" fmla="*/ 5 w 80"/>
                <a:gd name="T7" fmla="*/ 22 h 22"/>
                <a:gd name="T8" fmla="*/ 74 w 80"/>
                <a:gd name="T9" fmla="*/ 22 h 22"/>
                <a:gd name="T10" fmla="*/ 80 w 80"/>
                <a:gd name="T11" fmla="*/ 11 h 22"/>
                <a:gd name="T12" fmla="*/ 74 w 8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2">
                  <a:moveTo>
                    <a:pt x="7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5"/>
                    <a:pt x="0" y="11"/>
                  </a:cubicBezTo>
                  <a:cubicBezTo>
                    <a:pt x="0" y="17"/>
                    <a:pt x="2" y="22"/>
                    <a:pt x="5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7" y="22"/>
                    <a:pt x="80" y="17"/>
                    <a:pt x="80" y="11"/>
                  </a:cubicBezTo>
                  <a:cubicBezTo>
                    <a:pt x="80" y="5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21" name="Freeform 63">
              <a:extLst>
                <a:ext uri="{FF2B5EF4-FFF2-40B4-BE49-F238E27FC236}">
                  <a16:creationId xmlns="" xmlns:a16="http://schemas.microsoft.com/office/drawing/2014/main" id="{38E613CF-C8C2-4D84-B5FC-3B377691DB3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872" y="4451357"/>
              <a:ext cx="192088" cy="53975"/>
            </a:xfrm>
            <a:custGeom>
              <a:avLst/>
              <a:gdLst>
                <a:gd name="T0" fmla="*/ 74 w 80"/>
                <a:gd name="T1" fmla="*/ 0 h 22"/>
                <a:gd name="T2" fmla="*/ 5 w 80"/>
                <a:gd name="T3" fmla="*/ 0 h 22"/>
                <a:gd name="T4" fmla="*/ 0 w 80"/>
                <a:gd name="T5" fmla="*/ 11 h 22"/>
                <a:gd name="T6" fmla="*/ 5 w 80"/>
                <a:gd name="T7" fmla="*/ 22 h 22"/>
                <a:gd name="T8" fmla="*/ 74 w 80"/>
                <a:gd name="T9" fmla="*/ 22 h 22"/>
                <a:gd name="T10" fmla="*/ 80 w 80"/>
                <a:gd name="T11" fmla="*/ 11 h 22"/>
                <a:gd name="T12" fmla="*/ 74 w 8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2">
                  <a:moveTo>
                    <a:pt x="7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5"/>
                    <a:pt x="0" y="11"/>
                  </a:cubicBezTo>
                  <a:cubicBezTo>
                    <a:pt x="0" y="17"/>
                    <a:pt x="2" y="22"/>
                    <a:pt x="5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7" y="22"/>
                    <a:pt x="80" y="17"/>
                    <a:pt x="80" y="11"/>
                  </a:cubicBezTo>
                  <a:cubicBezTo>
                    <a:pt x="80" y="5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22" name="Freeform 64">
              <a:extLst>
                <a:ext uri="{FF2B5EF4-FFF2-40B4-BE49-F238E27FC236}">
                  <a16:creationId xmlns="" xmlns:a16="http://schemas.microsoft.com/office/drawing/2014/main" id="{1EE61C8D-FAF0-4D5C-B18C-3B7BC1092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872" y="4567245"/>
              <a:ext cx="192088" cy="50800"/>
            </a:xfrm>
            <a:custGeom>
              <a:avLst/>
              <a:gdLst>
                <a:gd name="T0" fmla="*/ 74 w 80"/>
                <a:gd name="T1" fmla="*/ 0 h 21"/>
                <a:gd name="T2" fmla="*/ 5 w 80"/>
                <a:gd name="T3" fmla="*/ 0 h 21"/>
                <a:gd name="T4" fmla="*/ 0 w 80"/>
                <a:gd name="T5" fmla="*/ 10 h 21"/>
                <a:gd name="T6" fmla="*/ 5 w 80"/>
                <a:gd name="T7" fmla="*/ 21 h 21"/>
                <a:gd name="T8" fmla="*/ 74 w 80"/>
                <a:gd name="T9" fmla="*/ 21 h 21"/>
                <a:gd name="T10" fmla="*/ 80 w 80"/>
                <a:gd name="T11" fmla="*/ 10 h 21"/>
                <a:gd name="T12" fmla="*/ 74 w 80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1">
                  <a:moveTo>
                    <a:pt x="7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4"/>
                    <a:pt x="0" y="10"/>
                  </a:cubicBezTo>
                  <a:cubicBezTo>
                    <a:pt x="0" y="17"/>
                    <a:pt x="2" y="21"/>
                    <a:pt x="5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7" y="21"/>
                    <a:pt x="80" y="17"/>
                    <a:pt x="80" y="10"/>
                  </a:cubicBezTo>
                  <a:cubicBezTo>
                    <a:pt x="80" y="4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23" name="Freeform 65">
              <a:extLst>
                <a:ext uri="{FF2B5EF4-FFF2-40B4-BE49-F238E27FC236}">
                  <a16:creationId xmlns="" xmlns:a16="http://schemas.microsoft.com/office/drawing/2014/main" id="{A2166351-867C-43FD-99F7-548DBE086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872" y="4681545"/>
              <a:ext cx="192088" cy="52388"/>
            </a:xfrm>
            <a:custGeom>
              <a:avLst/>
              <a:gdLst>
                <a:gd name="T0" fmla="*/ 74 w 80"/>
                <a:gd name="T1" fmla="*/ 0 h 22"/>
                <a:gd name="T2" fmla="*/ 5 w 80"/>
                <a:gd name="T3" fmla="*/ 0 h 22"/>
                <a:gd name="T4" fmla="*/ 0 w 80"/>
                <a:gd name="T5" fmla="*/ 11 h 22"/>
                <a:gd name="T6" fmla="*/ 5 w 80"/>
                <a:gd name="T7" fmla="*/ 22 h 22"/>
                <a:gd name="T8" fmla="*/ 74 w 80"/>
                <a:gd name="T9" fmla="*/ 22 h 22"/>
                <a:gd name="T10" fmla="*/ 80 w 80"/>
                <a:gd name="T11" fmla="*/ 11 h 22"/>
                <a:gd name="T12" fmla="*/ 74 w 8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2">
                  <a:moveTo>
                    <a:pt x="7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5"/>
                    <a:pt x="0" y="11"/>
                  </a:cubicBezTo>
                  <a:cubicBezTo>
                    <a:pt x="0" y="17"/>
                    <a:pt x="2" y="22"/>
                    <a:pt x="5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7" y="22"/>
                    <a:pt x="80" y="17"/>
                    <a:pt x="80" y="11"/>
                  </a:cubicBezTo>
                  <a:cubicBezTo>
                    <a:pt x="80" y="5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24" name="Freeform 66">
              <a:extLst>
                <a:ext uri="{FF2B5EF4-FFF2-40B4-BE49-F238E27FC236}">
                  <a16:creationId xmlns="" xmlns:a16="http://schemas.microsoft.com/office/drawing/2014/main" id="{C34C3F77-1335-4FD8-960B-BA5AAE727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872" y="4797432"/>
              <a:ext cx="192088" cy="52388"/>
            </a:xfrm>
            <a:custGeom>
              <a:avLst/>
              <a:gdLst>
                <a:gd name="T0" fmla="*/ 74 w 80"/>
                <a:gd name="T1" fmla="*/ 0 h 22"/>
                <a:gd name="T2" fmla="*/ 5 w 80"/>
                <a:gd name="T3" fmla="*/ 0 h 22"/>
                <a:gd name="T4" fmla="*/ 0 w 80"/>
                <a:gd name="T5" fmla="*/ 11 h 22"/>
                <a:gd name="T6" fmla="*/ 5 w 80"/>
                <a:gd name="T7" fmla="*/ 22 h 22"/>
                <a:gd name="T8" fmla="*/ 74 w 80"/>
                <a:gd name="T9" fmla="*/ 22 h 22"/>
                <a:gd name="T10" fmla="*/ 80 w 80"/>
                <a:gd name="T11" fmla="*/ 11 h 22"/>
                <a:gd name="T12" fmla="*/ 74 w 8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2">
                  <a:moveTo>
                    <a:pt x="7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5"/>
                    <a:pt x="0" y="11"/>
                  </a:cubicBezTo>
                  <a:cubicBezTo>
                    <a:pt x="0" y="17"/>
                    <a:pt x="2" y="22"/>
                    <a:pt x="5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7" y="22"/>
                    <a:pt x="80" y="17"/>
                    <a:pt x="80" y="11"/>
                  </a:cubicBezTo>
                  <a:cubicBezTo>
                    <a:pt x="80" y="5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25" name="Freeform 67">
              <a:extLst>
                <a:ext uri="{FF2B5EF4-FFF2-40B4-BE49-F238E27FC236}">
                  <a16:creationId xmlns="" xmlns:a16="http://schemas.microsoft.com/office/drawing/2014/main" id="{9C947000-7110-4918-AB40-057D6BD0612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872" y="4913320"/>
              <a:ext cx="192088" cy="50800"/>
            </a:xfrm>
            <a:custGeom>
              <a:avLst/>
              <a:gdLst>
                <a:gd name="T0" fmla="*/ 74 w 80"/>
                <a:gd name="T1" fmla="*/ 0 h 21"/>
                <a:gd name="T2" fmla="*/ 5 w 80"/>
                <a:gd name="T3" fmla="*/ 0 h 21"/>
                <a:gd name="T4" fmla="*/ 0 w 80"/>
                <a:gd name="T5" fmla="*/ 10 h 21"/>
                <a:gd name="T6" fmla="*/ 5 w 80"/>
                <a:gd name="T7" fmla="*/ 21 h 21"/>
                <a:gd name="T8" fmla="*/ 74 w 80"/>
                <a:gd name="T9" fmla="*/ 21 h 21"/>
                <a:gd name="T10" fmla="*/ 80 w 80"/>
                <a:gd name="T11" fmla="*/ 10 h 21"/>
                <a:gd name="T12" fmla="*/ 74 w 80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1">
                  <a:moveTo>
                    <a:pt x="7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4"/>
                    <a:pt x="0" y="10"/>
                  </a:cubicBezTo>
                  <a:cubicBezTo>
                    <a:pt x="0" y="17"/>
                    <a:pt x="2" y="21"/>
                    <a:pt x="5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7" y="21"/>
                    <a:pt x="80" y="17"/>
                    <a:pt x="80" y="10"/>
                  </a:cubicBezTo>
                  <a:cubicBezTo>
                    <a:pt x="80" y="4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26" name="Freeform 68">
              <a:extLst>
                <a:ext uri="{FF2B5EF4-FFF2-40B4-BE49-F238E27FC236}">
                  <a16:creationId xmlns="" xmlns:a16="http://schemas.microsoft.com/office/drawing/2014/main" id="{A8132E14-559B-4F9E-9B1C-0D259D6FC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858872" y="5026033"/>
              <a:ext cx="192088" cy="53975"/>
            </a:xfrm>
            <a:custGeom>
              <a:avLst/>
              <a:gdLst>
                <a:gd name="T0" fmla="*/ 74 w 80"/>
                <a:gd name="T1" fmla="*/ 0 h 22"/>
                <a:gd name="T2" fmla="*/ 5 w 80"/>
                <a:gd name="T3" fmla="*/ 0 h 22"/>
                <a:gd name="T4" fmla="*/ 0 w 80"/>
                <a:gd name="T5" fmla="*/ 11 h 22"/>
                <a:gd name="T6" fmla="*/ 5 w 80"/>
                <a:gd name="T7" fmla="*/ 22 h 22"/>
                <a:gd name="T8" fmla="*/ 74 w 80"/>
                <a:gd name="T9" fmla="*/ 22 h 22"/>
                <a:gd name="T10" fmla="*/ 80 w 80"/>
                <a:gd name="T11" fmla="*/ 11 h 22"/>
                <a:gd name="T12" fmla="*/ 74 w 8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22">
                  <a:moveTo>
                    <a:pt x="7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5"/>
                    <a:pt x="0" y="11"/>
                  </a:cubicBezTo>
                  <a:cubicBezTo>
                    <a:pt x="0" y="17"/>
                    <a:pt x="2" y="22"/>
                    <a:pt x="5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7" y="22"/>
                    <a:pt x="80" y="17"/>
                    <a:pt x="80" y="11"/>
                  </a:cubicBezTo>
                  <a:cubicBezTo>
                    <a:pt x="80" y="5"/>
                    <a:pt x="77" y="0"/>
                    <a:pt x="74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="" xmlns:a16="http://schemas.microsoft.com/office/drawing/2014/main" id="{1E54EAFC-1E98-4595-8748-E6D7BE5B5BDB}"/>
              </a:ext>
            </a:extLst>
          </p:cNvPr>
          <p:cNvGrpSpPr/>
          <p:nvPr/>
        </p:nvGrpSpPr>
        <p:grpSpPr>
          <a:xfrm>
            <a:off x="11709234" y="4121149"/>
            <a:ext cx="125836" cy="1437211"/>
            <a:chOff x="-2930183" y="1898652"/>
            <a:chExt cx="252413" cy="3181356"/>
          </a:xfrm>
          <a:solidFill>
            <a:srgbClr val="000000">
              <a:alpha val="10196"/>
            </a:srgbClr>
          </a:solidFill>
        </p:grpSpPr>
        <p:sp>
          <p:nvSpPr>
            <p:cNvPr id="128" name="Freeform 69">
              <a:extLst>
                <a:ext uri="{FF2B5EF4-FFF2-40B4-BE49-F238E27FC236}">
                  <a16:creationId xmlns="" xmlns:a16="http://schemas.microsoft.com/office/drawing/2014/main" id="{E52FE5E2-6906-48CA-83F3-466F39599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0183" y="1898652"/>
              <a:ext cx="252413" cy="95250"/>
            </a:xfrm>
            <a:custGeom>
              <a:avLst/>
              <a:gdLst>
                <a:gd name="T0" fmla="*/ 98 w 105"/>
                <a:gd name="T1" fmla="*/ 0 h 39"/>
                <a:gd name="T2" fmla="*/ 7 w 105"/>
                <a:gd name="T3" fmla="*/ 0 h 39"/>
                <a:gd name="T4" fmla="*/ 0 w 105"/>
                <a:gd name="T5" fmla="*/ 20 h 39"/>
                <a:gd name="T6" fmla="*/ 7 w 105"/>
                <a:gd name="T7" fmla="*/ 39 h 39"/>
                <a:gd name="T8" fmla="*/ 98 w 105"/>
                <a:gd name="T9" fmla="*/ 39 h 39"/>
                <a:gd name="T10" fmla="*/ 105 w 105"/>
                <a:gd name="T11" fmla="*/ 20 h 39"/>
                <a:gd name="T12" fmla="*/ 98 w 105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39">
                  <a:moveTo>
                    <a:pt x="9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9"/>
                    <a:pt x="0" y="20"/>
                  </a:cubicBezTo>
                  <a:cubicBezTo>
                    <a:pt x="0" y="31"/>
                    <a:pt x="3" y="39"/>
                    <a:pt x="7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102" y="39"/>
                    <a:pt x="105" y="31"/>
                    <a:pt x="105" y="20"/>
                  </a:cubicBezTo>
                  <a:cubicBezTo>
                    <a:pt x="105" y="9"/>
                    <a:pt x="102" y="0"/>
                    <a:pt x="9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29" name="Freeform 70">
              <a:extLst>
                <a:ext uri="{FF2B5EF4-FFF2-40B4-BE49-F238E27FC236}">
                  <a16:creationId xmlns="" xmlns:a16="http://schemas.microsoft.com/office/drawing/2014/main" id="{B4A4444B-FB4F-452C-BBA4-C6196018804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0183" y="2103440"/>
              <a:ext cx="252413" cy="96838"/>
            </a:xfrm>
            <a:custGeom>
              <a:avLst/>
              <a:gdLst>
                <a:gd name="T0" fmla="*/ 98 w 105"/>
                <a:gd name="T1" fmla="*/ 0 h 40"/>
                <a:gd name="T2" fmla="*/ 7 w 105"/>
                <a:gd name="T3" fmla="*/ 0 h 40"/>
                <a:gd name="T4" fmla="*/ 0 w 105"/>
                <a:gd name="T5" fmla="*/ 20 h 40"/>
                <a:gd name="T6" fmla="*/ 7 w 105"/>
                <a:gd name="T7" fmla="*/ 40 h 40"/>
                <a:gd name="T8" fmla="*/ 98 w 105"/>
                <a:gd name="T9" fmla="*/ 40 h 40"/>
                <a:gd name="T10" fmla="*/ 105 w 105"/>
                <a:gd name="T11" fmla="*/ 20 h 40"/>
                <a:gd name="T12" fmla="*/ 98 w 105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40">
                  <a:moveTo>
                    <a:pt x="9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9"/>
                    <a:pt x="0" y="20"/>
                  </a:cubicBezTo>
                  <a:cubicBezTo>
                    <a:pt x="0" y="31"/>
                    <a:pt x="3" y="40"/>
                    <a:pt x="7" y="40"/>
                  </a:cubicBezTo>
                  <a:cubicBezTo>
                    <a:pt x="98" y="40"/>
                    <a:pt x="98" y="40"/>
                    <a:pt x="98" y="40"/>
                  </a:cubicBezTo>
                  <a:cubicBezTo>
                    <a:pt x="102" y="40"/>
                    <a:pt x="105" y="31"/>
                    <a:pt x="105" y="20"/>
                  </a:cubicBezTo>
                  <a:cubicBezTo>
                    <a:pt x="105" y="9"/>
                    <a:pt x="102" y="0"/>
                    <a:pt x="9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30" name="Freeform 71">
              <a:extLst>
                <a:ext uri="{FF2B5EF4-FFF2-40B4-BE49-F238E27FC236}">
                  <a16:creationId xmlns="" xmlns:a16="http://schemas.microsoft.com/office/drawing/2014/main" id="{F7ACF6B3-25FE-4A14-AA97-C4D103F20F0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0183" y="2311403"/>
              <a:ext cx="252413" cy="95250"/>
            </a:xfrm>
            <a:custGeom>
              <a:avLst/>
              <a:gdLst>
                <a:gd name="T0" fmla="*/ 98 w 105"/>
                <a:gd name="T1" fmla="*/ 0 h 39"/>
                <a:gd name="T2" fmla="*/ 7 w 105"/>
                <a:gd name="T3" fmla="*/ 0 h 39"/>
                <a:gd name="T4" fmla="*/ 0 w 105"/>
                <a:gd name="T5" fmla="*/ 19 h 39"/>
                <a:gd name="T6" fmla="*/ 7 w 105"/>
                <a:gd name="T7" fmla="*/ 39 h 39"/>
                <a:gd name="T8" fmla="*/ 98 w 105"/>
                <a:gd name="T9" fmla="*/ 39 h 39"/>
                <a:gd name="T10" fmla="*/ 105 w 105"/>
                <a:gd name="T11" fmla="*/ 19 h 39"/>
                <a:gd name="T12" fmla="*/ 98 w 105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39">
                  <a:moveTo>
                    <a:pt x="9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8"/>
                    <a:pt x="0" y="19"/>
                  </a:cubicBezTo>
                  <a:cubicBezTo>
                    <a:pt x="0" y="30"/>
                    <a:pt x="3" y="39"/>
                    <a:pt x="7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102" y="39"/>
                    <a:pt x="105" y="30"/>
                    <a:pt x="105" y="19"/>
                  </a:cubicBezTo>
                  <a:cubicBezTo>
                    <a:pt x="105" y="8"/>
                    <a:pt x="102" y="0"/>
                    <a:pt x="9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31" name="Freeform 72">
              <a:extLst>
                <a:ext uri="{FF2B5EF4-FFF2-40B4-BE49-F238E27FC236}">
                  <a16:creationId xmlns="" xmlns:a16="http://schemas.microsoft.com/office/drawing/2014/main" id="{C12375E0-C51C-4A40-BA34-1073F13BCE1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0183" y="2517778"/>
              <a:ext cx="252413" cy="93663"/>
            </a:xfrm>
            <a:custGeom>
              <a:avLst/>
              <a:gdLst>
                <a:gd name="T0" fmla="*/ 98 w 105"/>
                <a:gd name="T1" fmla="*/ 0 h 39"/>
                <a:gd name="T2" fmla="*/ 7 w 105"/>
                <a:gd name="T3" fmla="*/ 0 h 39"/>
                <a:gd name="T4" fmla="*/ 0 w 105"/>
                <a:gd name="T5" fmla="*/ 19 h 39"/>
                <a:gd name="T6" fmla="*/ 7 w 105"/>
                <a:gd name="T7" fmla="*/ 39 h 39"/>
                <a:gd name="T8" fmla="*/ 98 w 105"/>
                <a:gd name="T9" fmla="*/ 39 h 39"/>
                <a:gd name="T10" fmla="*/ 105 w 105"/>
                <a:gd name="T11" fmla="*/ 19 h 39"/>
                <a:gd name="T12" fmla="*/ 98 w 105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39">
                  <a:moveTo>
                    <a:pt x="9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9"/>
                    <a:pt x="0" y="19"/>
                  </a:cubicBezTo>
                  <a:cubicBezTo>
                    <a:pt x="0" y="30"/>
                    <a:pt x="3" y="39"/>
                    <a:pt x="7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102" y="39"/>
                    <a:pt x="105" y="30"/>
                    <a:pt x="105" y="19"/>
                  </a:cubicBezTo>
                  <a:cubicBezTo>
                    <a:pt x="105" y="9"/>
                    <a:pt x="102" y="0"/>
                    <a:pt x="9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32" name="Freeform 73">
              <a:extLst>
                <a:ext uri="{FF2B5EF4-FFF2-40B4-BE49-F238E27FC236}">
                  <a16:creationId xmlns="" xmlns:a16="http://schemas.microsoft.com/office/drawing/2014/main" id="{91C062DC-7A3C-4276-B6F9-F8201614A3C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0183" y="2722566"/>
              <a:ext cx="252413" cy="93663"/>
            </a:xfrm>
            <a:custGeom>
              <a:avLst/>
              <a:gdLst>
                <a:gd name="T0" fmla="*/ 98 w 105"/>
                <a:gd name="T1" fmla="*/ 0 h 39"/>
                <a:gd name="T2" fmla="*/ 7 w 105"/>
                <a:gd name="T3" fmla="*/ 0 h 39"/>
                <a:gd name="T4" fmla="*/ 0 w 105"/>
                <a:gd name="T5" fmla="*/ 20 h 39"/>
                <a:gd name="T6" fmla="*/ 7 w 105"/>
                <a:gd name="T7" fmla="*/ 39 h 39"/>
                <a:gd name="T8" fmla="*/ 98 w 105"/>
                <a:gd name="T9" fmla="*/ 39 h 39"/>
                <a:gd name="T10" fmla="*/ 105 w 105"/>
                <a:gd name="T11" fmla="*/ 20 h 39"/>
                <a:gd name="T12" fmla="*/ 98 w 105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39">
                  <a:moveTo>
                    <a:pt x="9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9"/>
                    <a:pt x="0" y="20"/>
                  </a:cubicBezTo>
                  <a:cubicBezTo>
                    <a:pt x="0" y="30"/>
                    <a:pt x="3" y="39"/>
                    <a:pt x="7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102" y="39"/>
                    <a:pt x="105" y="30"/>
                    <a:pt x="105" y="20"/>
                  </a:cubicBezTo>
                  <a:cubicBezTo>
                    <a:pt x="105" y="9"/>
                    <a:pt x="102" y="0"/>
                    <a:pt x="9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33" name="Freeform 74">
              <a:extLst>
                <a:ext uri="{FF2B5EF4-FFF2-40B4-BE49-F238E27FC236}">
                  <a16:creationId xmlns="" xmlns:a16="http://schemas.microsoft.com/office/drawing/2014/main" id="{A1F629B8-8E2D-4F36-B3AC-ED6FC095FA64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0183" y="2927354"/>
              <a:ext cx="252413" cy="95250"/>
            </a:xfrm>
            <a:custGeom>
              <a:avLst/>
              <a:gdLst>
                <a:gd name="T0" fmla="*/ 98 w 105"/>
                <a:gd name="T1" fmla="*/ 0 h 39"/>
                <a:gd name="T2" fmla="*/ 7 w 105"/>
                <a:gd name="T3" fmla="*/ 0 h 39"/>
                <a:gd name="T4" fmla="*/ 0 w 105"/>
                <a:gd name="T5" fmla="*/ 20 h 39"/>
                <a:gd name="T6" fmla="*/ 7 w 105"/>
                <a:gd name="T7" fmla="*/ 39 h 39"/>
                <a:gd name="T8" fmla="*/ 98 w 105"/>
                <a:gd name="T9" fmla="*/ 39 h 39"/>
                <a:gd name="T10" fmla="*/ 105 w 105"/>
                <a:gd name="T11" fmla="*/ 20 h 39"/>
                <a:gd name="T12" fmla="*/ 98 w 105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39">
                  <a:moveTo>
                    <a:pt x="9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9"/>
                    <a:pt x="0" y="20"/>
                  </a:cubicBezTo>
                  <a:cubicBezTo>
                    <a:pt x="0" y="31"/>
                    <a:pt x="3" y="39"/>
                    <a:pt x="7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102" y="39"/>
                    <a:pt x="105" y="31"/>
                    <a:pt x="105" y="20"/>
                  </a:cubicBezTo>
                  <a:cubicBezTo>
                    <a:pt x="105" y="9"/>
                    <a:pt x="102" y="0"/>
                    <a:pt x="9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34" name="Freeform 75">
              <a:extLst>
                <a:ext uri="{FF2B5EF4-FFF2-40B4-BE49-F238E27FC236}">
                  <a16:creationId xmlns="" xmlns:a16="http://schemas.microsoft.com/office/drawing/2014/main" id="{2D4CD440-2AC1-4DA0-9F0A-4694165BDE5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0183" y="3133730"/>
              <a:ext cx="252413" cy="93663"/>
            </a:xfrm>
            <a:custGeom>
              <a:avLst/>
              <a:gdLst>
                <a:gd name="T0" fmla="*/ 98 w 105"/>
                <a:gd name="T1" fmla="*/ 0 h 39"/>
                <a:gd name="T2" fmla="*/ 7 w 105"/>
                <a:gd name="T3" fmla="*/ 0 h 39"/>
                <a:gd name="T4" fmla="*/ 0 w 105"/>
                <a:gd name="T5" fmla="*/ 20 h 39"/>
                <a:gd name="T6" fmla="*/ 7 w 105"/>
                <a:gd name="T7" fmla="*/ 39 h 39"/>
                <a:gd name="T8" fmla="*/ 98 w 105"/>
                <a:gd name="T9" fmla="*/ 39 h 39"/>
                <a:gd name="T10" fmla="*/ 105 w 105"/>
                <a:gd name="T11" fmla="*/ 20 h 39"/>
                <a:gd name="T12" fmla="*/ 98 w 105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39">
                  <a:moveTo>
                    <a:pt x="9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9"/>
                    <a:pt x="0" y="20"/>
                  </a:cubicBezTo>
                  <a:cubicBezTo>
                    <a:pt x="0" y="31"/>
                    <a:pt x="3" y="39"/>
                    <a:pt x="7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102" y="39"/>
                    <a:pt x="105" y="31"/>
                    <a:pt x="105" y="20"/>
                  </a:cubicBezTo>
                  <a:cubicBezTo>
                    <a:pt x="105" y="9"/>
                    <a:pt x="102" y="0"/>
                    <a:pt x="9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35" name="Freeform 76">
              <a:extLst>
                <a:ext uri="{FF2B5EF4-FFF2-40B4-BE49-F238E27FC236}">
                  <a16:creationId xmlns="" xmlns:a16="http://schemas.microsoft.com/office/drawing/2014/main" id="{7AB5A81A-6A60-4B76-9DB4-319815F2DA1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0183" y="3340105"/>
              <a:ext cx="252413" cy="95250"/>
            </a:xfrm>
            <a:custGeom>
              <a:avLst/>
              <a:gdLst>
                <a:gd name="T0" fmla="*/ 98 w 105"/>
                <a:gd name="T1" fmla="*/ 0 h 39"/>
                <a:gd name="T2" fmla="*/ 7 w 105"/>
                <a:gd name="T3" fmla="*/ 0 h 39"/>
                <a:gd name="T4" fmla="*/ 0 w 105"/>
                <a:gd name="T5" fmla="*/ 19 h 39"/>
                <a:gd name="T6" fmla="*/ 7 w 105"/>
                <a:gd name="T7" fmla="*/ 39 h 39"/>
                <a:gd name="T8" fmla="*/ 98 w 105"/>
                <a:gd name="T9" fmla="*/ 39 h 39"/>
                <a:gd name="T10" fmla="*/ 105 w 105"/>
                <a:gd name="T11" fmla="*/ 19 h 39"/>
                <a:gd name="T12" fmla="*/ 98 w 105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39">
                  <a:moveTo>
                    <a:pt x="9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8"/>
                    <a:pt x="0" y="19"/>
                  </a:cubicBezTo>
                  <a:cubicBezTo>
                    <a:pt x="0" y="30"/>
                    <a:pt x="3" y="39"/>
                    <a:pt x="7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102" y="39"/>
                    <a:pt x="105" y="30"/>
                    <a:pt x="105" y="19"/>
                  </a:cubicBezTo>
                  <a:cubicBezTo>
                    <a:pt x="105" y="8"/>
                    <a:pt x="102" y="0"/>
                    <a:pt x="9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36" name="Freeform 77">
              <a:extLst>
                <a:ext uri="{FF2B5EF4-FFF2-40B4-BE49-F238E27FC236}">
                  <a16:creationId xmlns="" xmlns:a16="http://schemas.microsoft.com/office/drawing/2014/main" id="{45F48925-A4A4-4E1C-9720-0A10C0D0D88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0183" y="3546480"/>
              <a:ext cx="252413" cy="93663"/>
            </a:xfrm>
            <a:custGeom>
              <a:avLst/>
              <a:gdLst>
                <a:gd name="T0" fmla="*/ 98 w 105"/>
                <a:gd name="T1" fmla="*/ 0 h 39"/>
                <a:gd name="T2" fmla="*/ 7 w 105"/>
                <a:gd name="T3" fmla="*/ 0 h 39"/>
                <a:gd name="T4" fmla="*/ 0 w 105"/>
                <a:gd name="T5" fmla="*/ 19 h 39"/>
                <a:gd name="T6" fmla="*/ 7 w 105"/>
                <a:gd name="T7" fmla="*/ 39 h 39"/>
                <a:gd name="T8" fmla="*/ 98 w 105"/>
                <a:gd name="T9" fmla="*/ 39 h 39"/>
                <a:gd name="T10" fmla="*/ 105 w 105"/>
                <a:gd name="T11" fmla="*/ 19 h 39"/>
                <a:gd name="T12" fmla="*/ 98 w 105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39">
                  <a:moveTo>
                    <a:pt x="9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8"/>
                    <a:pt x="0" y="19"/>
                  </a:cubicBezTo>
                  <a:cubicBezTo>
                    <a:pt x="0" y="30"/>
                    <a:pt x="3" y="39"/>
                    <a:pt x="7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102" y="39"/>
                    <a:pt x="105" y="30"/>
                    <a:pt x="105" y="19"/>
                  </a:cubicBezTo>
                  <a:cubicBezTo>
                    <a:pt x="105" y="8"/>
                    <a:pt x="102" y="0"/>
                    <a:pt x="9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37" name="Freeform 78">
              <a:extLst>
                <a:ext uri="{FF2B5EF4-FFF2-40B4-BE49-F238E27FC236}">
                  <a16:creationId xmlns="" xmlns:a16="http://schemas.microsoft.com/office/drawing/2014/main" id="{A76FB9E5-C55A-4624-8231-B7599A0E0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0183" y="3751268"/>
              <a:ext cx="252413" cy="93663"/>
            </a:xfrm>
            <a:custGeom>
              <a:avLst/>
              <a:gdLst>
                <a:gd name="T0" fmla="*/ 98 w 105"/>
                <a:gd name="T1" fmla="*/ 0 h 39"/>
                <a:gd name="T2" fmla="*/ 7 w 105"/>
                <a:gd name="T3" fmla="*/ 0 h 39"/>
                <a:gd name="T4" fmla="*/ 0 w 105"/>
                <a:gd name="T5" fmla="*/ 19 h 39"/>
                <a:gd name="T6" fmla="*/ 7 w 105"/>
                <a:gd name="T7" fmla="*/ 39 h 39"/>
                <a:gd name="T8" fmla="*/ 98 w 105"/>
                <a:gd name="T9" fmla="*/ 39 h 39"/>
                <a:gd name="T10" fmla="*/ 105 w 105"/>
                <a:gd name="T11" fmla="*/ 19 h 39"/>
                <a:gd name="T12" fmla="*/ 98 w 105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39">
                  <a:moveTo>
                    <a:pt x="9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9"/>
                    <a:pt x="0" y="19"/>
                  </a:cubicBezTo>
                  <a:cubicBezTo>
                    <a:pt x="0" y="30"/>
                    <a:pt x="3" y="39"/>
                    <a:pt x="7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102" y="39"/>
                    <a:pt x="105" y="30"/>
                    <a:pt x="105" y="19"/>
                  </a:cubicBezTo>
                  <a:cubicBezTo>
                    <a:pt x="105" y="9"/>
                    <a:pt x="102" y="0"/>
                    <a:pt x="9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38" name="Freeform 79">
              <a:extLst>
                <a:ext uri="{FF2B5EF4-FFF2-40B4-BE49-F238E27FC236}">
                  <a16:creationId xmlns="" xmlns:a16="http://schemas.microsoft.com/office/drawing/2014/main" id="{E3B0319A-E756-4916-BB8F-0537C0893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0183" y="3956056"/>
              <a:ext cx="252413" cy="95250"/>
            </a:xfrm>
            <a:custGeom>
              <a:avLst/>
              <a:gdLst>
                <a:gd name="T0" fmla="*/ 98 w 105"/>
                <a:gd name="T1" fmla="*/ 0 h 39"/>
                <a:gd name="T2" fmla="*/ 7 w 105"/>
                <a:gd name="T3" fmla="*/ 0 h 39"/>
                <a:gd name="T4" fmla="*/ 0 w 105"/>
                <a:gd name="T5" fmla="*/ 20 h 39"/>
                <a:gd name="T6" fmla="*/ 7 w 105"/>
                <a:gd name="T7" fmla="*/ 39 h 39"/>
                <a:gd name="T8" fmla="*/ 98 w 105"/>
                <a:gd name="T9" fmla="*/ 39 h 39"/>
                <a:gd name="T10" fmla="*/ 105 w 105"/>
                <a:gd name="T11" fmla="*/ 20 h 39"/>
                <a:gd name="T12" fmla="*/ 98 w 105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39">
                  <a:moveTo>
                    <a:pt x="9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9"/>
                    <a:pt x="0" y="20"/>
                  </a:cubicBezTo>
                  <a:cubicBezTo>
                    <a:pt x="0" y="30"/>
                    <a:pt x="3" y="39"/>
                    <a:pt x="7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102" y="39"/>
                    <a:pt x="105" y="30"/>
                    <a:pt x="105" y="20"/>
                  </a:cubicBezTo>
                  <a:cubicBezTo>
                    <a:pt x="105" y="9"/>
                    <a:pt x="102" y="0"/>
                    <a:pt x="9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39" name="Freeform 80">
              <a:extLst>
                <a:ext uri="{FF2B5EF4-FFF2-40B4-BE49-F238E27FC236}">
                  <a16:creationId xmlns="" xmlns:a16="http://schemas.microsoft.com/office/drawing/2014/main" id="{FEC6F3F7-5573-4BFC-8525-FD16280FD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0183" y="4162431"/>
              <a:ext cx="252413" cy="93663"/>
            </a:xfrm>
            <a:custGeom>
              <a:avLst/>
              <a:gdLst>
                <a:gd name="T0" fmla="*/ 98 w 105"/>
                <a:gd name="T1" fmla="*/ 0 h 39"/>
                <a:gd name="T2" fmla="*/ 7 w 105"/>
                <a:gd name="T3" fmla="*/ 0 h 39"/>
                <a:gd name="T4" fmla="*/ 0 w 105"/>
                <a:gd name="T5" fmla="*/ 20 h 39"/>
                <a:gd name="T6" fmla="*/ 7 w 105"/>
                <a:gd name="T7" fmla="*/ 39 h 39"/>
                <a:gd name="T8" fmla="*/ 98 w 105"/>
                <a:gd name="T9" fmla="*/ 39 h 39"/>
                <a:gd name="T10" fmla="*/ 105 w 105"/>
                <a:gd name="T11" fmla="*/ 20 h 39"/>
                <a:gd name="T12" fmla="*/ 98 w 105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39">
                  <a:moveTo>
                    <a:pt x="9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9"/>
                    <a:pt x="0" y="20"/>
                  </a:cubicBezTo>
                  <a:cubicBezTo>
                    <a:pt x="0" y="31"/>
                    <a:pt x="3" y="39"/>
                    <a:pt x="7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102" y="39"/>
                    <a:pt x="105" y="31"/>
                    <a:pt x="105" y="20"/>
                  </a:cubicBezTo>
                  <a:cubicBezTo>
                    <a:pt x="105" y="9"/>
                    <a:pt x="102" y="0"/>
                    <a:pt x="9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40" name="Freeform 81">
              <a:extLst>
                <a:ext uri="{FF2B5EF4-FFF2-40B4-BE49-F238E27FC236}">
                  <a16:creationId xmlns="" xmlns:a16="http://schemas.microsoft.com/office/drawing/2014/main" id="{06056BBB-538A-4874-BE28-7C493362C0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0183" y="4367219"/>
              <a:ext cx="252413" cy="96838"/>
            </a:xfrm>
            <a:custGeom>
              <a:avLst/>
              <a:gdLst>
                <a:gd name="T0" fmla="*/ 98 w 105"/>
                <a:gd name="T1" fmla="*/ 0 h 40"/>
                <a:gd name="T2" fmla="*/ 7 w 105"/>
                <a:gd name="T3" fmla="*/ 0 h 40"/>
                <a:gd name="T4" fmla="*/ 0 w 105"/>
                <a:gd name="T5" fmla="*/ 20 h 40"/>
                <a:gd name="T6" fmla="*/ 7 w 105"/>
                <a:gd name="T7" fmla="*/ 40 h 40"/>
                <a:gd name="T8" fmla="*/ 98 w 105"/>
                <a:gd name="T9" fmla="*/ 40 h 40"/>
                <a:gd name="T10" fmla="*/ 105 w 105"/>
                <a:gd name="T11" fmla="*/ 20 h 40"/>
                <a:gd name="T12" fmla="*/ 98 w 105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40">
                  <a:moveTo>
                    <a:pt x="9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9"/>
                    <a:pt x="0" y="20"/>
                  </a:cubicBezTo>
                  <a:cubicBezTo>
                    <a:pt x="0" y="31"/>
                    <a:pt x="3" y="40"/>
                    <a:pt x="7" y="40"/>
                  </a:cubicBezTo>
                  <a:cubicBezTo>
                    <a:pt x="98" y="40"/>
                    <a:pt x="98" y="40"/>
                    <a:pt x="98" y="40"/>
                  </a:cubicBezTo>
                  <a:cubicBezTo>
                    <a:pt x="102" y="40"/>
                    <a:pt x="105" y="31"/>
                    <a:pt x="105" y="20"/>
                  </a:cubicBezTo>
                  <a:cubicBezTo>
                    <a:pt x="105" y="9"/>
                    <a:pt x="102" y="0"/>
                    <a:pt x="9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41" name="Freeform 82">
              <a:extLst>
                <a:ext uri="{FF2B5EF4-FFF2-40B4-BE49-F238E27FC236}">
                  <a16:creationId xmlns="" xmlns:a16="http://schemas.microsoft.com/office/drawing/2014/main" id="{8F9BEB1E-67DA-4AF9-900E-763375374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0183" y="4575182"/>
              <a:ext cx="252413" cy="93663"/>
            </a:xfrm>
            <a:custGeom>
              <a:avLst/>
              <a:gdLst>
                <a:gd name="T0" fmla="*/ 98 w 105"/>
                <a:gd name="T1" fmla="*/ 0 h 39"/>
                <a:gd name="T2" fmla="*/ 7 w 105"/>
                <a:gd name="T3" fmla="*/ 0 h 39"/>
                <a:gd name="T4" fmla="*/ 0 w 105"/>
                <a:gd name="T5" fmla="*/ 19 h 39"/>
                <a:gd name="T6" fmla="*/ 7 w 105"/>
                <a:gd name="T7" fmla="*/ 39 h 39"/>
                <a:gd name="T8" fmla="*/ 98 w 105"/>
                <a:gd name="T9" fmla="*/ 39 h 39"/>
                <a:gd name="T10" fmla="*/ 105 w 105"/>
                <a:gd name="T11" fmla="*/ 19 h 39"/>
                <a:gd name="T12" fmla="*/ 98 w 105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39">
                  <a:moveTo>
                    <a:pt x="9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8"/>
                    <a:pt x="0" y="19"/>
                  </a:cubicBezTo>
                  <a:cubicBezTo>
                    <a:pt x="0" y="30"/>
                    <a:pt x="3" y="39"/>
                    <a:pt x="7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102" y="39"/>
                    <a:pt x="105" y="30"/>
                    <a:pt x="105" y="19"/>
                  </a:cubicBezTo>
                  <a:cubicBezTo>
                    <a:pt x="105" y="8"/>
                    <a:pt x="102" y="0"/>
                    <a:pt x="9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42" name="Freeform 83">
              <a:extLst>
                <a:ext uri="{FF2B5EF4-FFF2-40B4-BE49-F238E27FC236}">
                  <a16:creationId xmlns="" xmlns:a16="http://schemas.microsoft.com/office/drawing/2014/main" id="{75510547-E0C9-4B02-8293-E7E94FCDA90F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0183" y="4779970"/>
              <a:ext cx="252413" cy="93663"/>
            </a:xfrm>
            <a:custGeom>
              <a:avLst/>
              <a:gdLst>
                <a:gd name="T0" fmla="*/ 98 w 105"/>
                <a:gd name="T1" fmla="*/ 0 h 39"/>
                <a:gd name="T2" fmla="*/ 7 w 105"/>
                <a:gd name="T3" fmla="*/ 0 h 39"/>
                <a:gd name="T4" fmla="*/ 0 w 105"/>
                <a:gd name="T5" fmla="*/ 19 h 39"/>
                <a:gd name="T6" fmla="*/ 7 w 105"/>
                <a:gd name="T7" fmla="*/ 39 h 39"/>
                <a:gd name="T8" fmla="*/ 98 w 105"/>
                <a:gd name="T9" fmla="*/ 39 h 39"/>
                <a:gd name="T10" fmla="*/ 105 w 105"/>
                <a:gd name="T11" fmla="*/ 19 h 39"/>
                <a:gd name="T12" fmla="*/ 98 w 105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39">
                  <a:moveTo>
                    <a:pt x="9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9"/>
                    <a:pt x="0" y="19"/>
                  </a:cubicBezTo>
                  <a:cubicBezTo>
                    <a:pt x="0" y="30"/>
                    <a:pt x="3" y="39"/>
                    <a:pt x="7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102" y="39"/>
                    <a:pt x="105" y="30"/>
                    <a:pt x="105" y="19"/>
                  </a:cubicBezTo>
                  <a:cubicBezTo>
                    <a:pt x="105" y="9"/>
                    <a:pt x="102" y="0"/>
                    <a:pt x="9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43" name="Freeform 84">
              <a:extLst>
                <a:ext uri="{FF2B5EF4-FFF2-40B4-BE49-F238E27FC236}">
                  <a16:creationId xmlns="" xmlns:a16="http://schemas.microsoft.com/office/drawing/2014/main" id="{FF2E87C9-095F-4A1C-B948-EE6321C54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930183" y="4984758"/>
              <a:ext cx="252413" cy="95250"/>
            </a:xfrm>
            <a:custGeom>
              <a:avLst/>
              <a:gdLst>
                <a:gd name="T0" fmla="*/ 98 w 105"/>
                <a:gd name="T1" fmla="*/ 0 h 39"/>
                <a:gd name="T2" fmla="*/ 7 w 105"/>
                <a:gd name="T3" fmla="*/ 0 h 39"/>
                <a:gd name="T4" fmla="*/ 0 w 105"/>
                <a:gd name="T5" fmla="*/ 20 h 39"/>
                <a:gd name="T6" fmla="*/ 7 w 105"/>
                <a:gd name="T7" fmla="*/ 39 h 39"/>
                <a:gd name="T8" fmla="*/ 98 w 105"/>
                <a:gd name="T9" fmla="*/ 39 h 39"/>
                <a:gd name="T10" fmla="*/ 105 w 105"/>
                <a:gd name="T11" fmla="*/ 20 h 39"/>
                <a:gd name="T12" fmla="*/ 98 w 105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39">
                  <a:moveTo>
                    <a:pt x="9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9"/>
                    <a:pt x="0" y="20"/>
                  </a:cubicBezTo>
                  <a:cubicBezTo>
                    <a:pt x="0" y="30"/>
                    <a:pt x="3" y="39"/>
                    <a:pt x="7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102" y="39"/>
                    <a:pt x="105" y="30"/>
                    <a:pt x="105" y="20"/>
                  </a:cubicBezTo>
                  <a:cubicBezTo>
                    <a:pt x="105" y="9"/>
                    <a:pt x="102" y="0"/>
                    <a:pt x="98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144" name="Freeform 3">
            <a:extLst>
              <a:ext uri="{FF2B5EF4-FFF2-40B4-BE49-F238E27FC236}">
                <a16:creationId xmlns="" xmlns:a16="http://schemas.microsoft.com/office/drawing/2014/main" id="{3951BA3E-A8E8-42C6-B7E9-78F6824C8B9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64857" y="3650515"/>
            <a:ext cx="837398" cy="448454"/>
          </a:xfrm>
          <a:custGeom>
            <a:avLst/>
            <a:gdLst>
              <a:gd name="T0" fmla="*/ 2147483646 w 671"/>
              <a:gd name="T1" fmla="*/ 2147483646 h 360"/>
              <a:gd name="T2" fmla="*/ 2147483646 w 671"/>
              <a:gd name="T3" fmla="*/ 2147483646 h 360"/>
              <a:gd name="T4" fmla="*/ 2147483646 w 671"/>
              <a:gd name="T5" fmla="*/ 2147483646 h 360"/>
              <a:gd name="T6" fmla="*/ 2147483646 w 671"/>
              <a:gd name="T7" fmla="*/ 2147483646 h 360"/>
              <a:gd name="T8" fmla="*/ 2147483646 w 671"/>
              <a:gd name="T9" fmla="*/ 2147483646 h 360"/>
              <a:gd name="T10" fmla="*/ 2147483646 w 671"/>
              <a:gd name="T11" fmla="*/ 2147483646 h 360"/>
              <a:gd name="T12" fmla="*/ 2147483646 w 671"/>
              <a:gd name="T13" fmla="*/ 2147483646 h 360"/>
              <a:gd name="T14" fmla="*/ 2147483646 w 671"/>
              <a:gd name="T15" fmla="*/ 2147483646 h 360"/>
              <a:gd name="T16" fmla="*/ 2147483646 w 671"/>
              <a:gd name="T17" fmla="*/ 2147483646 h 360"/>
              <a:gd name="T18" fmla="*/ 2147483646 w 671"/>
              <a:gd name="T19" fmla="*/ 2147483646 h 360"/>
              <a:gd name="T20" fmla="*/ 2147483646 w 671"/>
              <a:gd name="T21" fmla="*/ 2147483646 h 360"/>
              <a:gd name="T22" fmla="*/ 2147483646 w 671"/>
              <a:gd name="T23" fmla="*/ 2147483646 h 360"/>
              <a:gd name="T24" fmla="*/ 2147483646 w 671"/>
              <a:gd name="T25" fmla="*/ 2147483646 h 360"/>
              <a:gd name="T26" fmla="*/ 2147483646 w 671"/>
              <a:gd name="T27" fmla="*/ 2147483646 h 360"/>
              <a:gd name="T28" fmla="*/ 2147483646 w 671"/>
              <a:gd name="T29" fmla="*/ 2147483646 h 360"/>
              <a:gd name="T30" fmla="*/ 2147483646 w 671"/>
              <a:gd name="T31" fmla="*/ 2147483646 h 360"/>
              <a:gd name="T32" fmla="*/ 2147483646 w 671"/>
              <a:gd name="T33" fmla="*/ 2147483646 h 360"/>
              <a:gd name="T34" fmla="*/ 2147483646 w 671"/>
              <a:gd name="T35" fmla="*/ 2147483646 h 360"/>
              <a:gd name="T36" fmla="*/ 2147483646 w 671"/>
              <a:gd name="T37" fmla="*/ 2147483646 h 360"/>
              <a:gd name="T38" fmla="*/ 2147483646 w 671"/>
              <a:gd name="T39" fmla="*/ 2147483646 h 360"/>
              <a:gd name="T40" fmla="*/ 2147483646 w 671"/>
              <a:gd name="T41" fmla="*/ 2147483646 h 360"/>
              <a:gd name="T42" fmla="*/ 2147483646 w 671"/>
              <a:gd name="T43" fmla="*/ 2147483646 h 360"/>
              <a:gd name="T44" fmla="*/ 2147483646 w 671"/>
              <a:gd name="T45" fmla="*/ 2147483646 h 360"/>
              <a:gd name="T46" fmla="*/ 2147483646 w 671"/>
              <a:gd name="T47" fmla="*/ 2147483646 h 360"/>
              <a:gd name="T48" fmla="*/ 2147483646 w 671"/>
              <a:gd name="T49" fmla="*/ 2147483646 h 360"/>
              <a:gd name="T50" fmla="*/ 2147483646 w 671"/>
              <a:gd name="T51" fmla="*/ 2147483646 h 360"/>
              <a:gd name="T52" fmla="*/ 2147483646 w 671"/>
              <a:gd name="T53" fmla="*/ 2147483646 h 360"/>
              <a:gd name="T54" fmla="*/ 2147483646 w 671"/>
              <a:gd name="T55" fmla="*/ 2147483646 h 360"/>
              <a:gd name="T56" fmla="*/ 2147483646 w 671"/>
              <a:gd name="T57" fmla="*/ 2147483646 h 360"/>
              <a:gd name="T58" fmla="*/ 2147483646 w 671"/>
              <a:gd name="T59" fmla="*/ 2147483646 h 360"/>
              <a:gd name="T60" fmla="*/ 2147483646 w 671"/>
              <a:gd name="T61" fmla="*/ 2147483646 h 360"/>
              <a:gd name="T62" fmla="*/ 2147483646 w 671"/>
              <a:gd name="T63" fmla="*/ 2147483646 h 360"/>
              <a:gd name="T64" fmla="*/ 2147483646 w 671"/>
              <a:gd name="T65" fmla="*/ 2147483646 h 360"/>
              <a:gd name="T66" fmla="*/ 2147483646 w 671"/>
              <a:gd name="T67" fmla="*/ 2147483646 h 360"/>
              <a:gd name="T68" fmla="*/ 2147483646 w 671"/>
              <a:gd name="T69" fmla="*/ 2147483646 h 360"/>
              <a:gd name="T70" fmla="*/ 2147483646 w 671"/>
              <a:gd name="T71" fmla="*/ 2147483646 h 360"/>
              <a:gd name="T72" fmla="*/ 2147483646 w 671"/>
              <a:gd name="T73" fmla="*/ 2147483646 h 360"/>
              <a:gd name="T74" fmla="*/ 2147483646 w 671"/>
              <a:gd name="T75" fmla="*/ 2147483646 h 360"/>
              <a:gd name="T76" fmla="*/ 2147483646 w 671"/>
              <a:gd name="T77" fmla="*/ 2147483646 h 360"/>
              <a:gd name="T78" fmla="*/ 2147483646 w 671"/>
              <a:gd name="T79" fmla="*/ 2147483646 h 360"/>
              <a:gd name="T80" fmla="*/ 2147483646 w 671"/>
              <a:gd name="T81" fmla="*/ 2147483646 h 360"/>
              <a:gd name="T82" fmla="*/ 2147483646 w 671"/>
              <a:gd name="T83" fmla="*/ 2147483646 h 360"/>
              <a:gd name="T84" fmla="*/ 2147483646 w 671"/>
              <a:gd name="T85" fmla="*/ 2147483646 h 360"/>
              <a:gd name="T86" fmla="*/ 2147483646 w 671"/>
              <a:gd name="T87" fmla="*/ 2147483646 h 360"/>
              <a:gd name="T88" fmla="*/ 2147483646 w 671"/>
              <a:gd name="T89" fmla="*/ 2147483646 h 360"/>
              <a:gd name="T90" fmla="*/ 2147483646 w 671"/>
              <a:gd name="T91" fmla="*/ 2147483646 h 360"/>
              <a:gd name="T92" fmla="*/ 2147483646 w 671"/>
              <a:gd name="T93" fmla="*/ 2147483646 h 360"/>
              <a:gd name="T94" fmla="*/ 2147483646 w 671"/>
              <a:gd name="T95" fmla="*/ 2147483646 h 360"/>
              <a:gd name="T96" fmla="*/ 2147483646 w 671"/>
              <a:gd name="T97" fmla="*/ 2147483646 h 360"/>
              <a:gd name="T98" fmla="*/ 2147483646 w 671"/>
              <a:gd name="T99" fmla="*/ 2147483646 h 360"/>
              <a:gd name="T100" fmla="*/ 2147483646 w 671"/>
              <a:gd name="T101" fmla="*/ 2147483646 h 36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671"/>
              <a:gd name="T154" fmla="*/ 0 h 360"/>
              <a:gd name="T155" fmla="*/ 671 w 671"/>
              <a:gd name="T156" fmla="*/ 360 h 360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671" h="360">
                <a:moveTo>
                  <a:pt x="663" y="88"/>
                </a:moveTo>
                <a:cubicBezTo>
                  <a:pt x="667" y="88"/>
                  <a:pt x="671" y="85"/>
                  <a:pt x="671" y="80"/>
                </a:cubicBezTo>
                <a:cubicBezTo>
                  <a:pt x="671" y="68"/>
                  <a:pt x="671" y="68"/>
                  <a:pt x="671" y="68"/>
                </a:cubicBezTo>
                <a:cubicBezTo>
                  <a:pt x="671" y="47"/>
                  <a:pt x="650" y="41"/>
                  <a:pt x="643" y="38"/>
                </a:cubicBezTo>
                <a:cubicBezTo>
                  <a:pt x="635" y="35"/>
                  <a:pt x="547" y="0"/>
                  <a:pt x="339" y="0"/>
                </a:cubicBezTo>
                <a:cubicBezTo>
                  <a:pt x="130" y="0"/>
                  <a:pt x="35" y="35"/>
                  <a:pt x="28" y="38"/>
                </a:cubicBezTo>
                <a:cubicBezTo>
                  <a:pt x="9" y="44"/>
                  <a:pt x="0" y="54"/>
                  <a:pt x="0" y="68"/>
                </a:cubicBezTo>
                <a:cubicBezTo>
                  <a:pt x="0" y="275"/>
                  <a:pt x="0" y="275"/>
                  <a:pt x="0" y="275"/>
                </a:cubicBezTo>
                <a:cubicBezTo>
                  <a:pt x="0" y="293"/>
                  <a:pt x="12" y="306"/>
                  <a:pt x="30" y="306"/>
                </a:cubicBezTo>
                <a:cubicBezTo>
                  <a:pt x="36" y="306"/>
                  <a:pt x="43" y="304"/>
                  <a:pt x="54" y="302"/>
                </a:cubicBezTo>
                <a:cubicBezTo>
                  <a:pt x="59" y="300"/>
                  <a:pt x="65" y="299"/>
                  <a:pt x="72" y="297"/>
                </a:cubicBezTo>
                <a:cubicBezTo>
                  <a:pt x="72" y="341"/>
                  <a:pt x="72" y="341"/>
                  <a:pt x="72" y="341"/>
                </a:cubicBezTo>
                <a:cubicBezTo>
                  <a:pt x="72" y="349"/>
                  <a:pt x="79" y="358"/>
                  <a:pt x="90" y="358"/>
                </a:cubicBezTo>
                <a:cubicBezTo>
                  <a:pt x="208" y="358"/>
                  <a:pt x="208" y="358"/>
                  <a:pt x="208" y="358"/>
                </a:cubicBezTo>
                <a:cubicBezTo>
                  <a:pt x="216" y="358"/>
                  <a:pt x="225" y="352"/>
                  <a:pt x="225" y="341"/>
                </a:cubicBezTo>
                <a:cubicBezTo>
                  <a:pt x="225" y="286"/>
                  <a:pt x="225" y="286"/>
                  <a:pt x="225" y="286"/>
                </a:cubicBezTo>
                <a:cubicBezTo>
                  <a:pt x="225" y="282"/>
                  <a:pt x="225" y="278"/>
                  <a:pt x="224" y="275"/>
                </a:cubicBezTo>
                <a:cubicBezTo>
                  <a:pt x="233" y="274"/>
                  <a:pt x="246" y="273"/>
                  <a:pt x="260" y="272"/>
                </a:cubicBezTo>
                <a:cubicBezTo>
                  <a:pt x="259" y="277"/>
                  <a:pt x="258" y="281"/>
                  <a:pt x="258" y="286"/>
                </a:cubicBezTo>
                <a:cubicBezTo>
                  <a:pt x="258" y="341"/>
                  <a:pt x="258" y="341"/>
                  <a:pt x="258" y="341"/>
                </a:cubicBezTo>
                <a:cubicBezTo>
                  <a:pt x="258" y="349"/>
                  <a:pt x="264" y="358"/>
                  <a:pt x="276" y="358"/>
                </a:cubicBezTo>
                <a:cubicBezTo>
                  <a:pt x="394" y="358"/>
                  <a:pt x="394" y="358"/>
                  <a:pt x="394" y="358"/>
                </a:cubicBezTo>
                <a:cubicBezTo>
                  <a:pt x="402" y="358"/>
                  <a:pt x="411" y="352"/>
                  <a:pt x="411" y="341"/>
                </a:cubicBezTo>
                <a:cubicBezTo>
                  <a:pt x="411" y="286"/>
                  <a:pt x="411" y="286"/>
                  <a:pt x="411" y="286"/>
                </a:cubicBezTo>
                <a:cubicBezTo>
                  <a:pt x="411" y="281"/>
                  <a:pt x="410" y="277"/>
                  <a:pt x="409" y="272"/>
                </a:cubicBezTo>
                <a:cubicBezTo>
                  <a:pt x="424" y="273"/>
                  <a:pt x="437" y="274"/>
                  <a:pt x="446" y="275"/>
                </a:cubicBezTo>
                <a:cubicBezTo>
                  <a:pt x="445" y="279"/>
                  <a:pt x="444" y="283"/>
                  <a:pt x="444" y="288"/>
                </a:cubicBezTo>
                <a:cubicBezTo>
                  <a:pt x="444" y="342"/>
                  <a:pt x="444" y="342"/>
                  <a:pt x="444" y="342"/>
                </a:cubicBezTo>
                <a:cubicBezTo>
                  <a:pt x="444" y="351"/>
                  <a:pt x="450" y="360"/>
                  <a:pt x="462" y="360"/>
                </a:cubicBezTo>
                <a:cubicBezTo>
                  <a:pt x="580" y="360"/>
                  <a:pt x="580" y="360"/>
                  <a:pt x="580" y="360"/>
                </a:cubicBezTo>
                <a:cubicBezTo>
                  <a:pt x="588" y="360"/>
                  <a:pt x="597" y="354"/>
                  <a:pt x="597" y="342"/>
                </a:cubicBezTo>
                <a:cubicBezTo>
                  <a:pt x="597" y="298"/>
                  <a:pt x="597" y="298"/>
                  <a:pt x="597" y="298"/>
                </a:cubicBezTo>
                <a:cubicBezTo>
                  <a:pt x="603" y="299"/>
                  <a:pt x="608" y="300"/>
                  <a:pt x="612" y="301"/>
                </a:cubicBezTo>
                <a:cubicBezTo>
                  <a:pt x="626" y="304"/>
                  <a:pt x="633" y="306"/>
                  <a:pt x="640" y="306"/>
                </a:cubicBezTo>
                <a:cubicBezTo>
                  <a:pt x="658" y="306"/>
                  <a:pt x="671" y="293"/>
                  <a:pt x="671" y="275"/>
                </a:cubicBezTo>
                <a:cubicBezTo>
                  <a:pt x="671" y="112"/>
                  <a:pt x="671" y="112"/>
                  <a:pt x="671" y="112"/>
                </a:cubicBezTo>
                <a:cubicBezTo>
                  <a:pt x="671" y="107"/>
                  <a:pt x="667" y="104"/>
                  <a:pt x="663" y="104"/>
                </a:cubicBezTo>
                <a:cubicBezTo>
                  <a:pt x="658" y="104"/>
                  <a:pt x="655" y="107"/>
                  <a:pt x="655" y="112"/>
                </a:cubicBezTo>
                <a:cubicBezTo>
                  <a:pt x="655" y="275"/>
                  <a:pt x="655" y="275"/>
                  <a:pt x="655" y="275"/>
                </a:cubicBezTo>
                <a:cubicBezTo>
                  <a:pt x="655" y="280"/>
                  <a:pt x="653" y="290"/>
                  <a:pt x="640" y="290"/>
                </a:cubicBezTo>
                <a:cubicBezTo>
                  <a:pt x="635" y="290"/>
                  <a:pt x="628" y="288"/>
                  <a:pt x="615" y="285"/>
                </a:cubicBezTo>
                <a:cubicBezTo>
                  <a:pt x="610" y="284"/>
                  <a:pt x="604" y="283"/>
                  <a:pt x="597" y="281"/>
                </a:cubicBezTo>
                <a:cubicBezTo>
                  <a:pt x="594" y="258"/>
                  <a:pt x="579" y="243"/>
                  <a:pt x="565" y="235"/>
                </a:cubicBezTo>
                <a:cubicBezTo>
                  <a:pt x="576" y="223"/>
                  <a:pt x="583" y="208"/>
                  <a:pt x="583" y="191"/>
                </a:cubicBezTo>
                <a:cubicBezTo>
                  <a:pt x="583" y="157"/>
                  <a:pt x="555" y="129"/>
                  <a:pt x="521" y="129"/>
                </a:cubicBezTo>
                <a:cubicBezTo>
                  <a:pt x="486" y="129"/>
                  <a:pt x="458" y="157"/>
                  <a:pt x="458" y="191"/>
                </a:cubicBezTo>
                <a:cubicBezTo>
                  <a:pt x="458" y="208"/>
                  <a:pt x="465" y="223"/>
                  <a:pt x="476" y="235"/>
                </a:cubicBezTo>
                <a:cubicBezTo>
                  <a:pt x="467" y="240"/>
                  <a:pt x="458" y="248"/>
                  <a:pt x="452" y="259"/>
                </a:cubicBezTo>
                <a:cubicBezTo>
                  <a:pt x="443" y="258"/>
                  <a:pt x="423" y="257"/>
                  <a:pt x="403" y="256"/>
                </a:cubicBezTo>
                <a:cubicBezTo>
                  <a:pt x="397" y="246"/>
                  <a:pt x="388" y="238"/>
                  <a:pt x="380" y="233"/>
                </a:cubicBezTo>
                <a:cubicBezTo>
                  <a:pt x="391" y="222"/>
                  <a:pt x="397" y="207"/>
                  <a:pt x="397" y="190"/>
                </a:cubicBezTo>
                <a:cubicBezTo>
                  <a:pt x="397" y="155"/>
                  <a:pt x="369" y="127"/>
                  <a:pt x="335" y="127"/>
                </a:cubicBezTo>
                <a:cubicBezTo>
                  <a:pt x="300" y="127"/>
                  <a:pt x="272" y="155"/>
                  <a:pt x="272" y="190"/>
                </a:cubicBezTo>
                <a:cubicBezTo>
                  <a:pt x="272" y="207"/>
                  <a:pt x="279" y="222"/>
                  <a:pt x="290" y="233"/>
                </a:cubicBezTo>
                <a:cubicBezTo>
                  <a:pt x="282" y="238"/>
                  <a:pt x="273" y="246"/>
                  <a:pt x="266" y="256"/>
                </a:cubicBezTo>
                <a:cubicBezTo>
                  <a:pt x="247" y="257"/>
                  <a:pt x="228" y="258"/>
                  <a:pt x="219" y="259"/>
                </a:cubicBezTo>
                <a:cubicBezTo>
                  <a:pt x="212" y="247"/>
                  <a:pt x="203" y="239"/>
                  <a:pt x="194" y="233"/>
                </a:cubicBezTo>
                <a:cubicBezTo>
                  <a:pt x="205" y="222"/>
                  <a:pt x="211" y="206"/>
                  <a:pt x="211" y="190"/>
                </a:cubicBezTo>
                <a:cubicBezTo>
                  <a:pt x="211" y="155"/>
                  <a:pt x="183" y="127"/>
                  <a:pt x="149" y="127"/>
                </a:cubicBezTo>
                <a:cubicBezTo>
                  <a:pt x="114" y="127"/>
                  <a:pt x="86" y="155"/>
                  <a:pt x="86" y="190"/>
                </a:cubicBezTo>
                <a:cubicBezTo>
                  <a:pt x="86" y="207"/>
                  <a:pt x="93" y="222"/>
                  <a:pt x="104" y="233"/>
                </a:cubicBezTo>
                <a:cubicBezTo>
                  <a:pt x="90" y="242"/>
                  <a:pt x="75" y="257"/>
                  <a:pt x="73" y="281"/>
                </a:cubicBezTo>
                <a:cubicBezTo>
                  <a:pt x="63" y="283"/>
                  <a:pt x="56" y="285"/>
                  <a:pt x="50" y="286"/>
                </a:cubicBezTo>
                <a:cubicBezTo>
                  <a:pt x="40" y="288"/>
                  <a:pt x="34" y="290"/>
                  <a:pt x="30" y="290"/>
                </a:cubicBezTo>
                <a:cubicBezTo>
                  <a:pt x="20" y="290"/>
                  <a:pt x="16" y="282"/>
                  <a:pt x="16" y="275"/>
                </a:cubicBezTo>
                <a:cubicBezTo>
                  <a:pt x="16" y="68"/>
                  <a:pt x="16" y="68"/>
                  <a:pt x="16" y="68"/>
                </a:cubicBezTo>
                <a:cubicBezTo>
                  <a:pt x="16" y="64"/>
                  <a:pt x="18" y="58"/>
                  <a:pt x="33" y="53"/>
                </a:cubicBezTo>
                <a:cubicBezTo>
                  <a:pt x="33" y="53"/>
                  <a:pt x="33" y="53"/>
                  <a:pt x="33" y="53"/>
                </a:cubicBezTo>
                <a:cubicBezTo>
                  <a:pt x="34" y="53"/>
                  <a:pt x="129" y="16"/>
                  <a:pt x="339" y="16"/>
                </a:cubicBezTo>
                <a:cubicBezTo>
                  <a:pt x="548" y="16"/>
                  <a:pt x="636" y="53"/>
                  <a:pt x="637" y="53"/>
                </a:cubicBezTo>
                <a:cubicBezTo>
                  <a:pt x="637" y="53"/>
                  <a:pt x="637" y="53"/>
                  <a:pt x="638" y="53"/>
                </a:cubicBezTo>
                <a:cubicBezTo>
                  <a:pt x="653" y="58"/>
                  <a:pt x="655" y="64"/>
                  <a:pt x="655" y="68"/>
                </a:cubicBezTo>
                <a:cubicBezTo>
                  <a:pt x="655" y="80"/>
                  <a:pt x="655" y="80"/>
                  <a:pt x="655" y="80"/>
                </a:cubicBezTo>
                <a:cubicBezTo>
                  <a:pt x="655" y="85"/>
                  <a:pt x="658" y="88"/>
                  <a:pt x="663" y="88"/>
                </a:cubicBezTo>
                <a:close/>
                <a:moveTo>
                  <a:pt x="474" y="191"/>
                </a:moveTo>
                <a:cubicBezTo>
                  <a:pt x="474" y="166"/>
                  <a:pt x="495" y="145"/>
                  <a:pt x="521" y="145"/>
                </a:cubicBezTo>
                <a:cubicBezTo>
                  <a:pt x="546" y="145"/>
                  <a:pt x="567" y="166"/>
                  <a:pt x="567" y="191"/>
                </a:cubicBezTo>
                <a:cubicBezTo>
                  <a:pt x="567" y="217"/>
                  <a:pt x="546" y="238"/>
                  <a:pt x="521" y="238"/>
                </a:cubicBezTo>
                <a:cubicBezTo>
                  <a:pt x="495" y="238"/>
                  <a:pt x="474" y="217"/>
                  <a:pt x="474" y="191"/>
                </a:cubicBezTo>
                <a:close/>
                <a:moveTo>
                  <a:pt x="460" y="288"/>
                </a:moveTo>
                <a:cubicBezTo>
                  <a:pt x="460" y="265"/>
                  <a:pt x="477" y="252"/>
                  <a:pt x="489" y="245"/>
                </a:cubicBezTo>
                <a:cubicBezTo>
                  <a:pt x="499" y="251"/>
                  <a:pt x="509" y="254"/>
                  <a:pt x="521" y="254"/>
                </a:cubicBezTo>
                <a:cubicBezTo>
                  <a:pt x="532" y="254"/>
                  <a:pt x="543" y="251"/>
                  <a:pt x="552" y="245"/>
                </a:cubicBezTo>
                <a:cubicBezTo>
                  <a:pt x="564" y="252"/>
                  <a:pt x="581" y="265"/>
                  <a:pt x="581" y="288"/>
                </a:cubicBezTo>
                <a:cubicBezTo>
                  <a:pt x="581" y="342"/>
                  <a:pt x="581" y="342"/>
                  <a:pt x="581" y="342"/>
                </a:cubicBezTo>
                <a:cubicBezTo>
                  <a:pt x="581" y="343"/>
                  <a:pt x="581" y="343"/>
                  <a:pt x="581" y="343"/>
                </a:cubicBezTo>
                <a:cubicBezTo>
                  <a:pt x="581" y="343"/>
                  <a:pt x="580" y="344"/>
                  <a:pt x="580" y="344"/>
                </a:cubicBezTo>
                <a:cubicBezTo>
                  <a:pt x="565" y="344"/>
                  <a:pt x="565" y="344"/>
                  <a:pt x="565" y="344"/>
                </a:cubicBezTo>
                <a:cubicBezTo>
                  <a:pt x="565" y="287"/>
                  <a:pt x="565" y="287"/>
                  <a:pt x="565" y="287"/>
                </a:cubicBezTo>
                <a:cubicBezTo>
                  <a:pt x="565" y="283"/>
                  <a:pt x="561" y="279"/>
                  <a:pt x="557" y="279"/>
                </a:cubicBezTo>
                <a:cubicBezTo>
                  <a:pt x="552" y="279"/>
                  <a:pt x="549" y="283"/>
                  <a:pt x="549" y="287"/>
                </a:cubicBezTo>
                <a:cubicBezTo>
                  <a:pt x="549" y="344"/>
                  <a:pt x="549" y="344"/>
                  <a:pt x="549" y="344"/>
                </a:cubicBezTo>
                <a:cubicBezTo>
                  <a:pt x="492" y="344"/>
                  <a:pt x="492" y="344"/>
                  <a:pt x="492" y="344"/>
                </a:cubicBezTo>
                <a:cubicBezTo>
                  <a:pt x="492" y="287"/>
                  <a:pt x="492" y="287"/>
                  <a:pt x="492" y="287"/>
                </a:cubicBezTo>
                <a:cubicBezTo>
                  <a:pt x="492" y="283"/>
                  <a:pt x="489" y="279"/>
                  <a:pt x="484" y="279"/>
                </a:cubicBezTo>
                <a:cubicBezTo>
                  <a:pt x="480" y="279"/>
                  <a:pt x="476" y="283"/>
                  <a:pt x="476" y="287"/>
                </a:cubicBezTo>
                <a:cubicBezTo>
                  <a:pt x="476" y="344"/>
                  <a:pt x="476" y="344"/>
                  <a:pt x="476" y="344"/>
                </a:cubicBezTo>
                <a:cubicBezTo>
                  <a:pt x="462" y="344"/>
                  <a:pt x="462" y="344"/>
                  <a:pt x="462" y="344"/>
                </a:cubicBezTo>
                <a:cubicBezTo>
                  <a:pt x="461" y="344"/>
                  <a:pt x="461" y="344"/>
                  <a:pt x="461" y="344"/>
                </a:cubicBezTo>
                <a:cubicBezTo>
                  <a:pt x="461" y="343"/>
                  <a:pt x="460" y="343"/>
                  <a:pt x="460" y="342"/>
                </a:cubicBezTo>
                <a:lnTo>
                  <a:pt x="460" y="288"/>
                </a:lnTo>
                <a:close/>
                <a:moveTo>
                  <a:pt x="288" y="190"/>
                </a:moveTo>
                <a:cubicBezTo>
                  <a:pt x="288" y="164"/>
                  <a:pt x="309" y="143"/>
                  <a:pt x="335" y="143"/>
                </a:cubicBezTo>
                <a:cubicBezTo>
                  <a:pt x="360" y="143"/>
                  <a:pt x="381" y="164"/>
                  <a:pt x="381" y="190"/>
                </a:cubicBezTo>
                <a:cubicBezTo>
                  <a:pt x="381" y="215"/>
                  <a:pt x="360" y="236"/>
                  <a:pt x="335" y="236"/>
                </a:cubicBezTo>
                <a:cubicBezTo>
                  <a:pt x="309" y="236"/>
                  <a:pt x="288" y="215"/>
                  <a:pt x="288" y="190"/>
                </a:cubicBezTo>
                <a:close/>
                <a:moveTo>
                  <a:pt x="274" y="286"/>
                </a:moveTo>
                <a:cubicBezTo>
                  <a:pt x="274" y="263"/>
                  <a:pt x="291" y="250"/>
                  <a:pt x="303" y="244"/>
                </a:cubicBezTo>
                <a:cubicBezTo>
                  <a:pt x="313" y="249"/>
                  <a:pt x="323" y="252"/>
                  <a:pt x="335" y="252"/>
                </a:cubicBezTo>
                <a:cubicBezTo>
                  <a:pt x="346" y="252"/>
                  <a:pt x="357" y="249"/>
                  <a:pt x="366" y="244"/>
                </a:cubicBezTo>
                <a:cubicBezTo>
                  <a:pt x="378" y="250"/>
                  <a:pt x="395" y="263"/>
                  <a:pt x="395" y="286"/>
                </a:cubicBezTo>
                <a:cubicBezTo>
                  <a:pt x="395" y="341"/>
                  <a:pt x="395" y="341"/>
                  <a:pt x="395" y="341"/>
                </a:cubicBezTo>
                <a:cubicBezTo>
                  <a:pt x="395" y="341"/>
                  <a:pt x="395" y="342"/>
                  <a:pt x="395" y="342"/>
                </a:cubicBezTo>
                <a:cubicBezTo>
                  <a:pt x="395" y="342"/>
                  <a:pt x="394" y="342"/>
                  <a:pt x="394" y="342"/>
                </a:cubicBezTo>
                <a:cubicBezTo>
                  <a:pt x="379" y="342"/>
                  <a:pt x="379" y="342"/>
                  <a:pt x="379" y="342"/>
                </a:cubicBezTo>
                <a:cubicBezTo>
                  <a:pt x="379" y="286"/>
                  <a:pt x="379" y="286"/>
                  <a:pt x="379" y="286"/>
                </a:cubicBezTo>
                <a:cubicBezTo>
                  <a:pt x="379" y="281"/>
                  <a:pt x="375" y="278"/>
                  <a:pt x="371" y="278"/>
                </a:cubicBezTo>
                <a:cubicBezTo>
                  <a:pt x="366" y="278"/>
                  <a:pt x="363" y="281"/>
                  <a:pt x="363" y="286"/>
                </a:cubicBezTo>
                <a:cubicBezTo>
                  <a:pt x="363" y="342"/>
                  <a:pt x="363" y="342"/>
                  <a:pt x="363" y="342"/>
                </a:cubicBezTo>
                <a:cubicBezTo>
                  <a:pt x="306" y="342"/>
                  <a:pt x="306" y="342"/>
                  <a:pt x="306" y="342"/>
                </a:cubicBezTo>
                <a:cubicBezTo>
                  <a:pt x="306" y="286"/>
                  <a:pt x="306" y="286"/>
                  <a:pt x="306" y="286"/>
                </a:cubicBezTo>
                <a:cubicBezTo>
                  <a:pt x="306" y="281"/>
                  <a:pt x="303" y="278"/>
                  <a:pt x="298" y="278"/>
                </a:cubicBezTo>
                <a:cubicBezTo>
                  <a:pt x="294" y="278"/>
                  <a:pt x="290" y="281"/>
                  <a:pt x="290" y="286"/>
                </a:cubicBezTo>
                <a:cubicBezTo>
                  <a:pt x="290" y="342"/>
                  <a:pt x="290" y="342"/>
                  <a:pt x="290" y="342"/>
                </a:cubicBezTo>
                <a:cubicBezTo>
                  <a:pt x="276" y="342"/>
                  <a:pt x="276" y="342"/>
                  <a:pt x="276" y="342"/>
                </a:cubicBezTo>
                <a:cubicBezTo>
                  <a:pt x="275" y="342"/>
                  <a:pt x="275" y="342"/>
                  <a:pt x="275" y="342"/>
                </a:cubicBezTo>
                <a:cubicBezTo>
                  <a:pt x="275" y="342"/>
                  <a:pt x="274" y="341"/>
                  <a:pt x="274" y="341"/>
                </a:cubicBezTo>
                <a:lnTo>
                  <a:pt x="274" y="286"/>
                </a:lnTo>
                <a:close/>
                <a:moveTo>
                  <a:pt x="102" y="190"/>
                </a:moveTo>
                <a:cubicBezTo>
                  <a:pt x="102" y="164"/>
                  <a:pt x="123" y="143"/>
                  <a:pt x="149" y="143"/>
                </a:cubicBezTo>
                <a:cubicBezTo>
                  <a:pt x="174" y="143"/>
                  <a:pt x="195" y="164"/>
                  <a:pt x="195" y="190"/>
                </a:cubicBezTo>
                <a:cubicBezTo>
                  <a:pt x="195" y="215"/>
                  <a:pt x="174" y="236"/>
                  <a:pt x="149" y="236"/>
                </a:cubicBezTo>
                <a:cubicBezTo>
                  <a:pt x="123" y="236"/>
                  <a:pt x="102" y="215"/>
                  <a:pt x="102" y="190"/>
                </a:cubicBezTo>
                <a:close/>
                <a:moveTo>
                  <a:pt x="88" y="286"/>
                </a:moveTo>
                <a:cubicBezTo>
                  <a:pt x="88" y="263"/>
                  <a:pt x="105" y="250"/>
                  <a:pt x="118" y="244"/>
                </a:cubicBezTo>
                <a:cubicBezTo>
                  <a:pt x="127" y="249"/>
                  <a:pt x="137" y="252"/>
                  <a:pt x="149" y="252"/>
                </a:cubicBezTo>
                <a:cubicBezTo>
                  <a:pt x="160" y="252"/>
                  <a:pt x="171" y="249"/>
                  <a:pt x="180" y="244"/>
                </a:cubicBezTo>
                <a:cubicBezTo>
                  <a:pt x="192" y="250"/>
                  <a:pt x="209" y="263"/>
                  <a:pt x="209" y="286"/>
                </a:cubicBezTo>
                <a:cubicBezTo>
                  <a:pt x="209" y="341"/>
                  <a:pt x="209" y="341"/>
                  <a:pt x="209" y="341"/>
                </a:cubicBezTo>
                <a:cubicBezTo>
                  <a:pt x="209" y="341"/>
                  <a:pt x="209" y="342"/>
                  <a:pt x="209" y="342"/>
                </a:cubicBezTo>
                <a:cubicBezTo>
                  <a:pt x="209" y="342"/>
                  <a:pt x="208" y="342"/>
                  <a:pt x="208" y="342"/>
                </a:cubicBezTo>
                <a:cubicBezTo>
                  <a:pt x="193" y="342"/>
                  <a:pt x="193" y="342"/>
                  <a:pt x="193" y="342"/>
                </a:cubicBezTo>
                <a:cubicBezTo>
                  <a:pt x="193" y="286"/>
                  <a:pt x="193" y="286"/>
                  <a:pt x="193" y="286"/>
                </a:cubicBezTo>
                <a:cubicBezTo>
                  <a:pt x="193" y="281"/>
                  <a:pt x="189" y="278"/>
                  <a:pt x="185" y="278"/>
                </a:cubicBezTo>
                <a:cubicBezTo>
                  <a:pt x="181" y="278"/>
                  <a:pt x="177" y="281"/>
                  <a:pt x="177" y="286"/>
                </a:cubicBezTo>
                <a:cubicBezTo>
                  <a:pt x="177" y="342"/>
                  <a:pt x="177" y="342"/>
                  <a:pt x="177" y="342"/>
                </a:cubicBezTo>
                <a:cubicBezTo>
                  <a:pt x="121" y="342"/>
                  <a:pt x="121" y="342"/>
                  <a:pt x="121" y="342"/>
                </a:cubicBezTo>
                <a:cubicBezTo>
                  <a:pt x="121" y="286"/>
                  <a:pt x="121" y="286"/>
                  <a:pt x="121" y="286"/>
                </a:cubicBezTo>
                <a:cubicBezTo>
                  <a:pt x="121" y="281"/>
                  <a:pt x="117" y="278"/>
                  <a:pt x="113" y="278"/>
                </a:cubicBezTo>
                <a:cubicBezTo>
                  <a:pt x="108" y="278"/>
                  <a:pt x="105" y="281"/>
                  <a:pt x="105" y="286"/>
                </a:cubicBezTo>
                <a:cubicBezTo>
                  <a:pt x="105" y="342"/>
                  <a:pt x="105" y="342"/>
                  <a:pt x="105" y="342"/>
                </a:cubicBezTo>
                <a:cubicBezTo>
                  <a:pt x="90" y="342"/>
                  <a:pt x="90" y="342"/>
                  <a:pt x="90" y="342"/>
                </a:cubicBezTo>
                <a:cubicBezTo>
                  <a:pt x="89" y="342"/>
                  <a:pt x="89" y="342"/>
                  <a:pt x="89" y="342"/>
                </a:cubicBezTo>
                <a:cubicBezTo>
                  <a:pt x="89" y="342"/>
                  <a:pt x="89" y="341"/>
                  <a:pt x="88" y="341"/>
                </a:cubicBezTo>
                <a:lnTo>
                  <a:pt x="88" y="28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MS PGothic" panose="020B0600070205080204" pitchFamily="34" charset="-128"/>
            </a:endParaRPr>
          </a:p>
        </p:txBody>
      </p:sp>
      <p:grpSp>
        <p:nvGrpSpPr>
          <p:cNvPr id="145" name="Group 144">
            <a:extLst>
              <a:ext uri="{FF2B5EF4-FFF2-40B4-BE49-F238E27FC236}">
                <a16:creationId xmlns="" xmlns:a16="http://schemas.microsoft.com/office/drawing/2014/main" id="{39FCE762-7059-4FFA-8BF6-5BAF95EB4CB0}"/>
              </a:ext>
            </a:extLst>
          </p:cNvPr>
          <p:cNvGrpSpPr/>
          <p:nvPr/>
        </p:nvGrpSpPr>
        <p:grpSpPr>
          <a:xfrm>
            <a:off x="2178201" y="4469797"/>
            <a:ext cx="376174" cy="1060951"/>
            <a:chOff x="7915217" y="4721518"/>
            <a:chExt cx="376174" cy="1060951"/>
          </a:xfrm>
        </p:grpSpPr>
        <p:sp>
          <p:nvSpPr>
            <p:cNvPr id="146" name="Freeform 6">
              <a:extLst>
                <a:ext uri="{FF2B5EF4-FFF2-40B4-BE49-F238E27FC236}">
                  <a16:creationId xmlns="" xmlns:a16="http://schemas.microsoft.com/office/drawing/2014/main" id="{82D40B5E-4B1E-437D-B981-5919FEAB1A4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7915217" y="4853943"/>
              <a:ext cx="263474" cy="928526"/>
            </a:xfrm>
            <a:custGeom>
              <a:avLst/>
              <a:gdLst>
                <a:gd name="T0" fmla="*/ 2147483646 w 114"/>
                <a:gd name="T1" fmla="*/ 2147483646 h 401"/>
                <a:gd name="T2" fmla="*/ 2147483646 w 114"/>
                <a:gd name="T3" fmla="*/ 2147483646 h 401"/>
                <a:gd name="T4" fmla="*/ 2147483646 w 114"/>
                <a:gd name="T5" fmla="*/ 2147483646 h 401"/>
                <a:gd name="T6" fmla="*/ 2147483646 w 114"/>
                <a:gd name="T7" fmla="*/ 2147483646 h 401"/>
                <a:gd name="T8" fmla="*/ 2147483646 w 114"/>
                <a:gd name="T9" fmla="*/ 2147483646 h 401"/>
                <a:gd name="T10" fmla="*/ 2147483646 w 114"/>
                <a:gd name="T11" fmla="*/ 2147483646 h 401"/>
                <a:gd name="T12" fmla="*/ 2147483646 w 114"/>
                <a:gd name="T13" fmla="*/ 2147483646 h 401"/>
                <a:gd name="T14" fmla="*/ 2147483646 w 114"/>
                <a:gd name="T15" fmla="*/ 2147483646 h 401"/>
                <a:gd name="T16" fmla="*/ 2147483646 w 114"/>
                <a:gd name="T17" fmla="*/ 2147483646 h 401"/>
                <a:gd name="T18" fmla="*/ 2147483646 w 114"/>
                <a:gd name="T19" fmla="*/ 2147483646 h 401"/>
                <a:gd name="T20" fmla="*/ 2147483646 w 114"/>
                <a:gd name="T21" fmla="*/ 2147483646 h 401"/>
                <a:gd name="T22" fmla="*/ 2147483646 w 114"/>
                <a:gd name="T23" fmla="*/ 2147483646 h 401"/>
                <a:gd name="T24" fmla="*/ 2147483646 w 114"/>
                <a:gd name="T25" fmla="*/ 2147483646 h 401"/>
                <a:gd name="T26" fmla="*/ 2147483646 w 114"/>
                <a:gd name="T27" fmla="*/ 2147483646 h 401"/>
                <a:gd name="T28" fmla="*/ 2147483646 w 114"/>
                <a:gd name="T29" fmla="*/ 2147483646 h 401"/>
                <a:gd name="T30" fmla="*/ 2147483646 w 114"/>
                <a:gd name="T31" fmla="*/ 2147483646 h 401"/>
                <a:gd name="T32" fmla="*/ 2147483646 w 114"/>
                <a:gd name="T33" fmla="*/ 2147483646 h 401"/>
                <a:gd name="T34" fmla="*/ 2147483646 w 114"/>
                <a:gd name="T35" fmla="*/ 2147483646 h 401"/>
                <a:gd name="T36" fmla="*/ 2147483646 w 114"/>
                <a:gd name="T37" fmla="*/ 0 h 401"/>
                <a:gd name="T38" fmla="*/ 0 w 114"/>
                <a:gd name="T39" fmla="*/ 2147483646 h 401"/>
                <a:gd name="T40" fmla="*/ 0 w 114"/>
                <a:gd name="T41" fmla="*/ 2147483646 h 401"/>
                <a:gd name="T42" fmla="*/ 2147483646 w 114"/>
                <a:gd name="T43" fmla="*/ 2147483646 h 401"/>
                <a:gd name="T44" fmla="*/ 2147483646 w 114"/>
                <a:gd name="T45" fmla="*/ 2147483646 h 401"/>
                <a:gd name="T46" fmla="*/ 2147483646 w 114"/>
                <a:gd name="T47" fmla="*/ 2147483646 h 401"/>
                <a:gd name="T48" fmla="*/ 2147483646 w 114"/>
                <a:gd name="T49" fmla="*/ 2147483646 h 401"/>
                <a:gd name="T50" fmla="*/ 2147483646 w 114"/>
                <a:gd name="T51" fmla="*/ 2147483646 h 401"/>
                <a:gd name="T52" fmla="*/ 2147483646 w 114"/>
                <a:gd name="T53" fmla="*/ 2147483646 h 401"/>
                <a:gd name="T54" fmla="*/ 2147483646 w 114"/>
                <a:gd name="T55" fmla="*/ 2147483646 h 401"/>
                <a:gd name="T56" fmla="*/ 2147483646 w 114"/>
                <a:gd name="T57" fmla="*/ 2147483646 h 401"/>
                <a:gd name="T58" fmla="*/ 2147483646 w 114"/>
                <a:gd name="T59" fmla="*/ 2147483646 h 401"/>
                <a:gd name="T60" fmla="*/ 2147483646 w 114"/>
                <a:gd name="T61" fmla="*/ 2147483646 h 401"/>
                <a:gd name="T62" fmla="*/ 2147483646 w 114"/>
                <a:gd name="T63" fmla="*/ 2147483646 h 401"/>
                <a:gd name="T64" fmla="*/ 2147483646 w 114"/>
                <a:gd name="T65" fmla="*/ 2147483646 h 401"/>
                <a:gd name="T66" fmla="*/ 2147483646 w 114"/>
                <a:gd name="T67" fmla="*/ 2147483646 h 401"/>
                <a:gd name="T68" fmla="*/ 2147483646 w 114"/>
                <a:gd name="T69" fmla="*/ 2147483646 h 401"/>
                <a:gd name="T70" fmla="*/ 2147483646 w 114"/>
                <a:gd name="T71" fmla="*/ 2147483646 h 401"/>
                <a:gd name="T72" fmla="*/ 2147483646 w 114"/>
                <a:gd name="T73" fmla="*/ 2147483646 h 401"/>
                <a:gd name="T74" fmla="*/ 2147483646 w 114"/>
                <a:gd name="T75" fmla="*/ 2147483646 h 40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14" h="401">
                  <a:moveTo>
                    <a:pt x="81" y="65"/>
                  </a:moveTo>
                  <a:cubicBezTo>
                    <a:pt x="81" y="78"/>
                    <a:pt x="70" y="89"/>
                    <a:pt x="57" y="89"/>
                  </a:cubicBezTo>
                  <a:cubicBezTo>
                    <a:pt x="44" y="89"/>
                    <a:pt x="34" y="78"/>
                    <a:pt x="34" y="65"/>
                  </a:cubicBezTo>
                  <a:cubicBezTo>
                    <a:pt x="34" y="52"/>
                    <a:pt x="44" y="42"/>
                    <a:pt x="57" y="42"/>
                  </a:cubicBezTo>
                  <a:cubicBezTo>
                    <a:pt x="70" y="42"/>
                    <a:pt x="81" y="52"/>
                    <a:pt x="81" y="65"/>
                  </a:cubicBezTo>
                  <a:close/>
                  <a:moveTo>
                    <a:pt x="57" y="124"/>
                  </a:moveTo>
                  <a:cubicBezTo>
                    <a:pt x="44" y="124"/>
                    <a:pt x="34" y="135"/>
                    <a:pt x="34" y="148"/>
                  </a:cubicBezTo>
                  <a:cubicBezTo>
                    <a:pt x="34" y="161"/>
                    <a:pt x="44" y="171"/>
                    <a:pt x="57" y="171"/>
                  </a:cubicBezTo>
                  <a:cubicBezTo>
                    <a:pt x="70" y="171"/>
                    <a:pt x="81" y="161"/>
                    <a:pt x="81" y="148"/>
                  </a:cubicBezTo>
                  <a:cubicBezTo>
                    <a:pt x="81" y="135"/>
                    <a:pt x="70" y="124"/>
                    <a:pt x="57" y="124"/>
                  </a:cubicBezTo>
                  <a:close/>
                  <a:moveTo>
                    <a:pt x="57" y="207"/>
                  </a:moveTo>
                  <a:cubicBezTo>
                    <a:pt x="44" y="207"/>
                    <a:pt x="34" y="217"/>
                    <a:pt x="34" y="230"/>
                  </a:cubicBezTo>
                  <a:cubicBezTo>
                    <a:pt x="34" y="243"/>
                    <a:pt x="44" y="254"/>
                    <a:pt x="57" y="254"/>
                  </a:cubicBezTo>
                  <a:cubicBezTo>
                    <a:pt x="70" y="254"/>
                    <a:pt x="81" y="243"/>
                    <a:pt x="81" y="230"/>
                  </a:cubicBezTo>
                  <a:cubicBezTo>
                    <a:pt x="81" y="217"/>
                    <a:pt x="70" y="207"/>
                    <a:pt x="57" y="207"/>
                  </a:cubicBezTo>
                  <a:close/>
                  <a:moveTo>
                    <a:pt x="106" y="91"/>
                  </a:moveTo>
                  <a:cubicBezTo>
                    <a:pt x="111" y="91"/>
                    <a:pt x="114" y="87"/>
                    <a:pt x="114" y="83"/>
                  </a:cubicBezTo>
                  <a:cubicBezTo>
                    <a:pt x="114" y="57"/>
                    <a:pt x="114" y="57"/>
                    <a:pt x="114" y="57"/>
                  </a:cubicBezTo>
                  <a:cubicBezTo>
                    <a:pt x="114" y="26"/>
                    <a:pt x="89" y="0"/>
                    <a:pt x="57" y="0"/>
                  </a:cubicBezTo>
                  <a:cubicBezTo>
                    <a:pt x="26" y="0"/>
                    <a:pt x="0" y="26"/>
                    <a:pt x="0" y="57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0" y="267"/>
                    <a:pt x="22" y="291"/>
                    <a:pt x="49" y="295"/>
                  </a:cubicBezTo>
                  <a:cubicBezTo>
                    <a:pt x="49" y="393"/>
                    <a:pt x="49" y="393"/>
                    <a:pt x="49" y="393"/>
                  </a:cubicBezTo>
                  <a:cubicBezTo>
                    <a:pt x="49" y="398"/>
                    <a:pt x="53" y="401"/>
                    <a:pt x="57" y="401"/>
                  </a:cubicBezTo>
                  <a:cubicBezTo>
                    <a:pt x="62" y="401"/>
                    <a:pt x="65" y="398"/>
                    <a:pt x="65" y="393"/>
                  </a:cubicBezTo>
                  <a:cubicBezTo>
                    <a:pt x="65" y="295"/>
                    <a:pt x="65" y="295"/>
                    <a:pt x="65" y="295"/>
                  </a:cubicBezTo>
                  <a:cubicBezTo>
                    <a:pt x="93" y="291"/>
                    <a:pt x="114" y="267"/>
                    <a:pt x="114" y="238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114" y="110"/>
                    <a:pt x="111" y="107"/>
                    <a:pt x="106" y="107"/>
                  </a:cubicBezTo>
                  <a:cubicBezTo>
                    <a:pt x="102" y="107"/>
                    <a:pt x="98" y="110"/>
                    <a:pt x="98" y="115"/>
                  </a:cubicBezTo>
                  <a:cubicBezTo>
                    <a:pt x="98" y="238"/>
                    <a:pt x="98" y="238"/>
                    <a:pt x="98" y="238"/>
                  </a:cubicBezTo>
                  <a:cubicBezTo>
                    <a:pt x="98" y="261"/>
                    <a:pt x="80" y="279"/>
                    <a:pt x="57" y="279"/>
                  </a:cubicBezTo>
                  <a:cubicBezTo>
                    <a:pt x="35" y="279"/>
                    <a:pt x="16" y="261"/>
                    <a:pt x="16" y="23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6" y="35"/>
                    <a:pt x="35" y="16"/>
                    <a:pt x="57" y="16"/>
                  </a:cubicBezTo>
                  <a:cubicBezTo>
                    <a:pt x="80" y="16"/>
                    <a:pt x="98" y="35"/>
                    <a:pt x="98" y="57"/>
                  </a:cubicBezTo>
                  <a:cubicBezTo>
                    <a:pt x="98" y="83"/>
                    <a:pt x="98" y="83"/>
                    <a:pt x="98" y="83"/>
                  </a:cubicBezTo>
                  <a:cubicBezTo>
                    <a:pt x="98" y="87"/>
                    <a:pt x="102" y="91"/>
                    <a:pt x="106" y="9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47" name="Freeform 5">
              <a:extLst>
                <a:ext uri="{FF2B5EF4-FFF2-40B4-BE49-F238E27FC236}">
                  <a16:creationId xmlns="" xmlns:a16="http://schemas.microsoft.com/office/drawing/2014/main" id="{3399266B-2AFE-465B-AA11-F16789A9095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109688" y="4721518"/>
              <a:ext cx="181703" cy="181703"/>
            </a:xfrm>
            <a:custGeom>
              <a:avLst/>
              <a:gdLst>
                <a:gd name="T0" fmla="*/ 2147483646 w 144"/>
                <a:gd name="T1" fmla="*/ 2147483646 h 144"/>
                <a:gd name="T2" fmla="*/ 2147483646 w 144"/>
                <a:gd name="T3" fmla="*/ 2147483646 h 144"/>
                <a:gd name="T4" fmla="*/ 2147483646 w 144"/>
                <a:gd name="T5" fmla="*/ 2147483646 h 144"/>
                <a:gd name="T6" fmla="*/ 2147483646 w 144"/>
                <a:gd name="T7" fmla="*/ 2147483646 h 144"/>
                <a:gd name="T8" fmla="*/ 2147483646 w 144"/>
                <a:gd name="T9" fmla="*/ 2147483646 h 144"/>
                <a:gd name="T10" fmla="*/ 2147483646 w 144"/>
                <a:gd name="T11" fmla="*/ 2147483646 h 144"/>
                <a:gd name="T12" fmla="*/ 2147483646 w 144"/>
                <a:gd name="T13" fmla="*/ 2147483646 h 144"/>
                <a:gd name="T14" fmla="*/ 2147483646 w 144"/>
                <a:gd name="T15" fmla="*/ 2147483646 h 144"/>
                <a:gd name="T16" fmla="*/ 2147483646 w 144"/>
                <a:gd name="T17" fmla="*/ 0 h 144"/>
                <a:gd name="T18" fmla="*/ 0 w 144"/>
                <a:gd name="T19" fmla="*/ 2147483646 h 144"/>
                <a:gd name="T20" fmla="*/ 2147483646 w 144"/>
                <a:gd name="T21" fmla="*/ 2147483646 h 144"/>
                <a:gd name="T22" fmla="*/ 2147483646 w 144"/>
                <a:gd name="T23" fmla="*/ 2147483646 h 144"/>
                <a:gd name="T24" fmla="*/ 0 w 144"/>
                <a:gd name="T25" fmla="*/ 2147483646 h 144"/>
                <a:gd name="T26" fmla="*/ 2147483646 w 144"/>
                <a:gd name="T27" fmla="*/ 2147483646 h 144"/>
                <a:gd name="T28" fmla="*/ 2147483646 w 144"/>
                <a:gd name="T29" fmla="*/ 2147483646 h 144"/>
                <a:gd name="T30" fmla="*/ 2147483646 w 144"/>
                <a:gd name="T31" fmla="*/ 2147483646 h 144"/>
                <a:gd name="T32" fmla="*/ 2147483646 w 144"/>
                <a:gd name="T33" fmla="*/ 2147483646 h 144"/>
                <a:gd name="T34" fmla="*/ 2147483646 w 144"/>
                <a:gd name="T35" fmla="*/ 2147483646 h 144"/>
                <a:gd name="T36" fmla="*/ 2147483646 w 144"/>
                <a:gd name="T37" fmla="*/ 2147483646 h 144"/>
                <a:gd name="T38" fmla="*/ 2147483646 w 144"/>
                <a:gd name="T39" fmla="*/ 2147483646 h 144"/>
                <a:gd name="T40" fmla="*/ 2147483646 w 144"/>
                <a:gd name="T41" fmla="*/ 2147483646 h 144"/>
                <a:gd name="T42" fmla="*/ 2147483646 w 144"/>
                <a:gd name="T43" fmla="*/ 2147483646 h 144"/>
                <a:gd name="T44" fmla="*/ 2147483646 w 144"/>
                <a:gd name="T45" fmla="*/ 2147483646 h 144"/>
                <a:gd name="T46" fmla="*/ 2147483646 w 144"/>
                <a:gd name="T47" fmla="*/ 2147483646 h 144"/>
                <a:gd name="T48" fmla="*/ 2147483646 w 144"/>
                <a:gd name="T49" fmla="*/ 2147483646 h 144"/>
                <a:gd name="T50" fmla="*/ 2147483646 w 144"/>
                <a:gd name="T51" fmla="*/ 2147483646 h 144"/>
                <a:gd name="T52" fmla="*/ 0 w 144"/>
                <a:gd name="T53" fmla="*/ 2147483646 h 144"/>
                <a:gd name="T54" fmla="*/ 2147483646 w 144"/>
                <a:gd name="T55" fmla="*/ 2147483646 h 144"/>
                <a:gd name="T56" fmla="*/ 2147483646 w 144"/>
                <a:gd name="T57" fmla="*/ 2147483646 h 144"/>
                <a:gd name="T58" fmla="*/ 2147483646 w 144"/>
                <a:gd name="T59" fmla="*/ 2147483646 h 144"/>
                <a:gd name="T60" fmla="*/ 2147483646 w 144"/>
                <a:gd name="T61" fmla="*/ 2147483646 h 14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44" h="144">
                  <a:moveTo>
                    <a:pt x="8" y="16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41" y="16"/>
                    <a:pt x="71" y="29"/>
                    <a:pt x="93" y="51"/>
                  </a:cubicBezTo>
                  <a:cubicBezTo>
                    <a:pt x="115" y="73"/>
                    <a:pt x="128" y="103"/>
                    <a:pt x="128" y="136"/>
                  </a:cubicBezTo>
                  <a:cubicBezTo>
                    <a:pt x="128" y="141"/>
                    <a:pt x="132" y="144"/>
                    <a:pt x="136" y="144"/>
                  </a:cubicBezTo>
                  <a:cubicBezTo>
                    <a:pt x="138" y="144"/>
                    <a:pt x="140" y="144"/>
                    <a:pt x="142" y="142"/>
                  </a:cubicBezTo>
                  <a:cubicBezTo>
                    <a:pt x="143" y="141"/>
                    <a:pt x="144" y="139"/>
                    <a:pt x="144" y="136"/>
                  </a:cubicBezTo>
                  <a:cubicBezTo>
                    <a:pt x="144" y="99"/>
                    <a:pt x="129" y="65"/>
                    <a:pt x="104" y="40"/>
                  </a:cubicBezTo>
                  <a:cubicBezTo>
                    <a:pt x="79" y="15"/>
                    <a:pt x="45" y="0"/>
                    <a:pt x="8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12"/>
                    <a:pt x="3" y="16"/>
                    <a:pt x="8" y="16"/>
                  </a:cubicBezTo>
                  <a:close/>
                  <a:moveTo>
                    <a:pt x="8" y="77"/>
                  </a:moveTo>
                  <a:cubicBezTo>
                    <a:pt x="3" y="77"/>
                    <a:pt x="0" y="80"/>
                    <a:pt x="0" y="85"/>
                  </a:cubicBezTo>
                  <a:cubicBezTo>
                    <a:pt x="0" y="89"/>
                    <a:pt x="3" y="93"/>
                    <a:pt x="8" y="93"/>
                  </a:cubicBezTo>
                  <a:cubicBezTo>
                    <a:pt x="20" y="93"/>
                    <a:pt x="30" y="98"/>
                    <a:pt x="38" y="106"/>
                  </a:cubicBezTo>
                  <a:cubicBezTo>
                    <a:pt x="46" y="114"/>
                    <a:pt x="51" y="124"/>
                    <a:pt x="51" y="136"/>
                  </a:cubicBezTo>
                  <a:cubicBezTo>
                    <a:pt x="51" y="141"/>
                    <a:pt x="55" y="144"/>
                    <a:pt x="59" y="144"/>
                  </a:cubicBezTo>
                  <a:cubicBezTo>
                    <a:pt x="61" y="144"/>
                    <a:pt x="63" y="144"/>
                    <a:pt x="65" y="142"/>
                  </a:cubicBezTo>
                  <a:cubicBezTo>
                    <a:pt x="66" y="141"/>
                    <a:pt x="67" y="139"/>
                    <a:pt x="67" y="136"/>
                  </a:cubicBezTo>
                  <a:cubicBezTo>
                    <a:pt x="67" y="120"/>
                    <a:pt x="60" y="105"/>
                    <a:pt x="50" y="94"/>
                  </a:cubicBezTo>
                  <a:cubicBezTo>
                    <a:pt x="39" y="84"/>
                    <a:pt x="24" y="77"/>
                    <a:pt x="8" y="77"/>
                  </a:cubicBezTo>
                  <a:close/>
                  <a:moveTo>
                    <a:pt x="98" y="144"/>
                  </a:moveTo>
                  <a:cubicBezTo>
                    <a:pt x="100" y="144"/>
                    <a:pt x="102" y="144"/>
                    <a:pt x="103" y="142"/>
                  </a:cubicBezTo>
                  <a:cubicBezTo>
                    <a:pt x="105" y="141"/>
                    <a:pt x="106" y="139"/>
                    <a:pt x="106" y="136"/>
                  </a:cubicBezTo>
                  <a:cubicBezTo>
                    <a:pt x="106" y="109"/>
                    <a:pt x="95" y="85"/>
                    <a:pt x="77" y="67"/>
                  </a:cubicBezTo>
                  <a:cubicBezTo>
                    <a:pt x="59" y="49"/>
                    <a:pt x="35" y="38"/>
                    <a:pt x="8" y="38"/>
                  </a:cubicBezTo>
                  <a:cubicBezTo>
                    <a:pt x="3" y="38"/>
                    <a:pt x="0" y="42"/>
                    <a:pt x="0" y="46"/>
                  </a:cubicBezTo>
                  <a:cubicBezTo>
                    <a:pt x="0" y="51"/>
                    <a:pt x="3" y="54"/>
                    <a:pt x="8" y="54"/>
                  </a:cubicBezTo>
                  <a:cubicBezTo>
                    <a:pt x="30" y="54"/>
                    <a:pt x="51" y="64"/>
                    <a:pt x="66" y="78"/>
                  </a:cubicBezTo>
                  <a:cubicBezTo>
                    <a:pt x="80" y="93"/>
                    <a:pt x="90" y="114"/>
                    <a:pt x="90" y="136"/>
                  </a:cubicBezTo>
                  <a:cubicBezTo>
                    <a:pt x="90" y="141"/>
                    <a:pt x="93" y="144"/>
                    <a:pt x="98" y="14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cxnSp>
        <p:nvCxnSpPr>
          <p:cNvPr id="149" name="Straight Connector 148">
            <a:extLst>
              <a:ext uri="{FF2B5EF4-FFF2-40B4-BE49-F238E27FC236}">
                <a16:creationId xmlns="" xmlns:a16="http://schemas.microsoft.com/office/drawing/2014/main" id="{782FB6DE-62F1-4419-A146-FF0387CA4289}"/>
              </a:ext>
            </a:extLst>
          </p:cNvPr>
          <p:cNvCxnSpPr>
            <a:cxnSpLocks/>
          </p:cNvCxnSpPr>
          <p:nvPr/>
        </p:nvCxnSpPr>
        <p:spPr bwMode="auto">
          <a:xfrm>
            <a:off x="-24000" y="5570070"/>
            <a:ext cx="12240000" cy="0"/>
          </a:xfrm>
          <a:prstGeom prst="line">
            <a:avLst/>
          </a:prstGeom>
          <a:solidFill>
            <a:schemeClr val="accent1"/>
          </a:solidFill>
          <a:ln w="2857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150" name="Group 149">
            <a:extLst>
              <a:ext uri="{FF2B5EF4-FFF2-40B4-BE49-F238E27FC236}">
                <a16:creationId xmlns="" xmlns:a16="http://schemas.microsoft.com/office/drawing/2014/main" id="{4355169A-D560-4296-8E80-11549D80BFA6}"/>
              </a:ext>
            </a:extLst>
          </p:cNvPr>
          <p:cNvGrpSpPr/>
          <p:nvPr/>
        </p:nvGrpSpPr>
        <p:grpSpPr>
          <a:xfrm>
            <a:off x="3006450" y="5111430"/>
            <a:ext cx="892987" cy="463116"/>
            <a:chOff x="681812" y="5124884"/>
            <a:chExt cx="892987" cy="463116"/>
          </a:xfrm>
        </p:grpSpPr>
        <p:sp>
          <p:nvSpPr>
            <p:cNvPr id="151" name="Freeform 14" descr="bpct-blend3">
              <a:extLst>
                <a:ext uri="{FF2B5EF4-FFF2-40B4-BE49-F238E27FC236}">
                  <a16:creationId xmlns="" xmlns:a16="http://schemas.microsoft.com/office/drawing/2014/main" id="{231F274A-5CA0-4EAE-8899-9B4020ED583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81812" y="5199942"/>
              <a:ext cx="892987" cy="388058"/>
            </a:xfrm>
            <a:custGeom>
              <a:avLst/>
              <a:gdLst>
                <a:gd name="T0" fmla="*/ 2147483647 w 448"/>
                <a:gd name="T1" fmla="*/ 2147483647 h 208"/>
                <a:gd name="T2" fmla="*/ 2147483647 w 448"/>
                <a:gd name="T3" fmla="*/ 2147483647 h 208"/>
                <a:gd name="T4" fmla="*/ 2147483647 w 448"/>
                <a:gd name="T5" fmla="*/ 2147483647 h 208"/>
                <a:gd name="T6" fmla="*/ 2147483647 w 448"/>
                <a:gd name="T7" fmla="*/ 2147483647 h 208"/>
                <a:gd name="T8" fmla="*/ 2147483647 w 448"/>
                <a:gd name="T9" fmla="*/ 2147483647 h 208"/>
                <a:gd name="T10" fmla="*/ 2147483647 w 448"/>
                <a:gd name="T11" fmla="*/ 2147483647 h 208"/>
                <a:gd name="T12" fmla="*/ 2147483647 w 448"/>
                <a:gd name="T13" fmla="*/ 2147483647 h 208"/>
                <a:gd name="T14" fmla="*/ 2147483647 w 448"/>
                <a:gd name="T15" fmla="*/ 2147483647 h 208"/>
                <a:gd name="T16" fmla="*/ 2147483647 w 448"/>
                <a:gd name="T17" fmla="*/ 2147483647 h 208"/>
                <a:gd name="T18" fmla="*/ 2147483647 w 448"/>
                <a:gd name="T19" fmla="*/ 2147483647 h 208"/>
                <a:gd name="T20" fmla="*/ 2147483647 w 448"/>
                <a:gd name="T21" fmla="*/ 2147483647 h 208"/>
                <a:gd name="T22" fmla="*/ 2147483647 w 448"/>
                <a:gd name="T23" fmla="*/ 2147483647 h 208"/>
                <a:gd name="T24" fmla="*/ 2147483647 w 448"/>
                <a:gd name="T25" fmla="*/ 2147483647 h 208"/>
                <a:gd name="T26" fmla="*/ 2147483647 w 448"/>
                <a:gd name="T27" fmla="*/ 2147483647 h 208"/>
                <a:gd name="T28" fmla="*/ 2147483647 w 448"/>
                <a:gd name="T29" fmla="*/ 2147483647 h 208"/>
                <a:gd name="T30" fmla="*/ 2147483647 w 448"/>
                <a:gd name="T31" fmla="*/ 2147483647 h 208"/>
                <a:gd name="T32" fmla="*/ 2147483647 w 448"/>
                <a:gd name="T33" fmla="*/ 2147483647 h 208"/>
                <a:gd name="T34" fmla="*/ 2147483647 w 448"/>
                <a:gd name="T35" fmla="*/ 2147483647 h 208"/>
                <a:gd name="T36" fmla="*/ 2147483647 w 448"/>
                <a:gd name="T37" fmla="*/ 2147483647 h 208"/>
                <a:gd name="T38" fmla="*/ 2147483647 w 448"/>
                <a:gd name="T39" fmla="*/ 2147483647 h 208"/>
                <a:gd name="T40" fmla="*/ 2147483647 w 448"/>
                <a:gd name="T41" fmla="*/ 2147483647 h 208"/>
                <a:gd name="T42" fmla="*/ 2147483647 w 448"/>
                <a:gd name="T43" fmla="*/ 2147483647 h 208"/>
                <a:gd name="T44" fmla="*/ 2147483647 w 448"/>
                <a:gd name="T45" fmla="*/ 2147483647 h 208"/>
                <a:gd name="T46" fmla="*/ 2147483647 w 448"/>
                <a:gd name="T47" fmla="*/ 2147483647 h 208"/>
                <a:gd name="T48" fmla="*/ 2147483647 w 448"/>
                <a:gd name="T49" fmla="*/ 2147483647 h 208"/>
                <a:gd name="T50" fmla="*/ 2147483647 w 448"/>
                <a:gd name="T51" fmla="*/ 2147483647 h 208"/>
                <a:gd name="T52" fmla="*/ 2147483647 w 448"/>
                <a:gd name="T53" fmla="*/ 2147483647 h 208"/>
                <a:gd name="T54" fmla="*/ 2147483647 w 448"/>
                <a:gd name="T55" fmla="*/ 2147483647 h 208"/>
                <a:gd name="T56" fmla="*/ 2147483647 w 448"/>
                <a:gd name="T57" fmla="*/ 2147483647 h 208"/>
                <a:gd name="T58" fmla="*/ 2147483647 w 448"/>
                <a:gd name="T59" fmla="*/ 2147483647 h 208"/>
                <a:gd name="T60" fmla="*/ 2147483647 w 448"/>
                <a:gd name="T61" fmla="*/ 2147483647 h 208"/>
                <a:gd name="T62" fmla="*/ 2147483647 w 448"/>
                <a:gd name="T63" fmla="*/ 2147483647 h 208"/>
                <a:gd name="T64" fmla="*/ 2147483647 w 448"/>
                <a:gd name="T65" fmla="*/ 2147483647 h 208"/>
                <a:gd name="T66" fmla="*/ 2147483647 w 448"/>
                <a:gd name="T67" fmla="*/ 2147483647 h 20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448" h="208">
                  <a:moveTo>
                    <a:pt x="447" y="114"/>
                  </a:moveTo>
                  <a:cubicBezTo>
                    <a:pt x="446" y="110"/>
                    <a:pt x="442" y="107"/>
                    <a:pt x="437" y="108"/>
                  </a:cubicBezTo>
                  <a:cubicBezTo>
                    <a:pt x="433" y="109"/>
                    <a:pt x="431" y="114"/>
                    <a:pt x="432" y="118"/>
                  </a:cubicBezTo>
                  <a:cubicBezTo>
                    <a:pt x="432" y="120"/>
                    <a:pt x="432" y="122"/>
                    <a:pt x="432" y="125"/>
                  </a:cubicBezTo>
                  <a:cubicBezTo>
                    <a:pt x="432" y="142"/>
                    <a:pt x="427" y="154"/>
                    <a:pt x="423" y="161"/>
                  </a:cubicBezTo>
                  <a:cubicBezTo>
                    <a:pt x="420" y="164"/>
                    <a:pt x="418" y="167"/>
                    <a:pt x="416" y="169"/>
                  </a:cubicBezTo>
                  <a:cubicBezTo>
                    <a:pt x="416" y="169"/>
                    <a:pt x="416" y="169"/>
                    <a:pt x="416" y="169"/>
                  </a:cubicBezTo>
                  <a:cubicBezTo>
                    <a:pt x="413" y="169"/>
                    <a:pt x="410" y="169"/>
                    <a:pt x="408" y="169"/>
                  </a:cubicBezTo>
                  <a:cubicBezTo>
                    <a:pt x="408" y="167"/>
                    <a:pt x="408" y="165"/>
                    <a:pt x="408" y="163"/>
                  </a:cubicBezTo>
                  <a:cubicBezTo>
                    <a:pt x="408" y="139"/>
                    <a:pt x="388" y="119"/>
                    <a:pt x="363" y="119"/>
                  </a:cubicBezTo>
                  <a:cubicBezTo>
                    <a:pt x="339" y="119"/>
                    <a:pt x="319" y="139"/>
                    <a:pt x="319" y="163"/>
                  </a:cubicBezTo>
                  <a:cubicBezTo>
                    <a:pt x="319" y="165"/>
                    <a:pt x="319" y="167"/>
                    <a:pt x="319" y="169"/>
                  </a:cubicBezTo>
                  <a:cubicBezTo>
                    <a:pt x="266" y="169"/>
                    <a:pt x="197" y="169"/>
                    <a:pt x="140" y="169"/>
                  </a:cubicBezTo>
                  <a:cubicBezTo>
                    <a:pt x="141" y="167"/>
                    <a:pt x="141" y="165"/>
                    <a:pt x="141" y="163"/>
                  </a:cubicBezTo>
                  <a:cubicBezTo>
                    <a:pt x="141" y="139"/>
                    <a:pt x="121" y="119"/>
                    <a:pt x="96" y="119"/>
                  </a:cubicBezTo>
                  <a:cubicBezTo>
                    <a:pt x="71" y="119"/>
                    <a:pt x="52" y="139"/>
                    <a:pt x="51" y="163"/>
                  </a:cubicBezTo>
                  <a:cubicBezTo>
                    <a:pt x="51" y="165"/>
                    <a:pt x="52" y="167"/>
                    <a:pt x="52" y="169"/>
                  </a:cubicBezTo>
                  <a:cubicBezTo>
                    <a:pt x="40" y="169"/>
                    <a:pt x="32" y="169"/>
                    <a:pt x="29" y="169"/>
                  </a:cubicBezTo>
                  <a:cubicBezTo>
                    <a:pt x="23" y="169"/>
                    <a:pt x="21" y="167"/>
                    <a:pt x="19" y="163"/>
                  </a:cubicBezTo>
                  <a:cubicBezTo>
                    <a:pt x="17" y="159"/>
                    <a:pt x="16" y="152"/>
                    <a:pt x="16" y="147"/>
                  </a:cubicBezTo>
                  <a:cubicBezTo>
                    <a:pt x="16" y="136"/>
                    <a:pt x="21" y="126"/>
                    <a:pt x="30" y="118"/>
                  </a:cubicBezTo>
                  <a:cubicBezTo>
                    <a:pt x="44" y="105"/>
                    <a:pt x="67" y="96"/>
                    <a:pt x="85" y="90"/>
                  </a:cubicBezTo>
                  <a:cubicBezTo>
                    <a:pt x="95" y="87"/>
                    <a:pt x="103" y="85"/>
                    <a:pt x="109" y="84"/>
                  </a:cubicBezTo>
                  <a:cubicBezTo>
                    <a:pt x="114" y="83"/>
                    <a:pt x="117" y="82"/>
                    <a:pt x="119" y="82"/>
                  </a:cubicBezTo>
                  <a:cubicBezTo>
                    <a:pt x="384" y="82"/>
                    <a:pt x="384" y="82"/>
                    <a:pt x="384" y="82"/>
                  </a:cubicBezTo>
                  <a:cubicBezTo>
                    <a:pt x="385" y="82"/>
                    <a:pt x="386" y="82"/>
                    <a:pt x="386" y="83"/>
                  </a:cubicBezTo>
                  <a:cubicBezTo>
                    <a:pt x="392" y="84"/>
                    <a:pt x="406" y="89"/>
                    <a:pt x="417" y="97"/>
                  </a:cubicBezTo>
                  <a:cubicBezTo>
                    <a:pt x="420" y="100"/>
                    <a:pt x="425" y="99"/>
                    <a:pt x="428" y="96"/>
                  </a:cubicBezTo>
                  <a:cubicBezTo>
                    <a:pt x="430" y="92"/>
                    <a:pt x="430" y="87"/>
                    <a:pt x="426" y="84"/>
                  </a:cubicBezTo>
                  <a:cubicBezTo>
                    <a:pt x="412" y="74"/>
                    <a:pt x="397" y="69"/>
                    <a:pt x="390" y="67"/>
                  </a:cubicBezTo>
                  <a:cubicBezTo>
                    <a:pt x="380" y="55"/>
                    <a:pt x="333" y="0"/>
                    <a:pt x="248" y="0"/>
                  </a:cubicBezTo>
                  <a:cubicBezTo>
                    <a:pt x="165" y="0"/>
                    <a:pt x="123" y="53"/>
                    <a:pt x="113" y="67"/>
                  </a:cubicBezTo>
                  <a:cubicBezTo>
                    <a:pt x="105" y="68"/>
                    <a:pt x="82" y="73"/>
                    <a:pt x="60" y="82"/>
                  </a:cubicBezTo>
                  <a:cubicBezTo>
                    <a:pt x="46" y="88"/>
                    <a:pt x="31" y="96"/>
                    <a:pt x="20" y="106"/>
                  </a:cubicBezTo>
                  <a:cubicBezTo>
                    <a:pt x="8" y="116"/>
                    <a:pt x="0" y="130"/>
                    <a:pt x="0" y="147"/>
                  </a:cubicBezTo>
                  <a:cubicBezTo>
                    <a:pt x="0" y="153"/>
                    <a:pt x="1" y="162"/>
                    <a:pt x="5" y="170"/>
                  </a:cubicBezTo>
                  <a:cubicBezTo>
                    <a:pt x="8" y="178"/>
                    <a:pt x="17" y="185"/>
                    <a:pt x="29" y="185"/>
                  </a:cubicBezTo>
                  <a:cubicBezTo>
                    <a:pt x="29" y="185"/>
                    <a:pt x="29" y="185"/>
                    <a:pt x="29" y="185"/>
                  </a:cubicBezTo>
                  <a:cubicBezTo>
                    <a:pt x="32" y="185"/>
                    <a:pt x="42" y="185"/>
                    <a:pt x="57" y="185"/>
                  </a:cubicBezTo>
                  <a:cubicBezTo>
                    <a:pt x="65" y="199"/>
                    <a:pt x="79" y="208"/>
                    <a:pt x="96" y="208"/>
                  </a:cubicBezTo>
                  <a:cubicBezTo>
                    <a:pt x="113" y="208"/>
                    <a:pt x="127" y="199"/>
                    <a:pt x="135" y="185"/>
                  </a:cubicBezTo>
                  <a:cubicBezTo>
                    <a:pt x="195" y="185"/>
                    <a:pt x="269" y="185"/>
                    <a:pt x="324" y="185"/>
                  </a:cubicBezTo>
                  <a:cubicBezTo>
                    <a:pt x="332" y="199"/>
                    <a:pt x="347" y="208"/>
                    <a:pt x="363" y="208"/>
                  </a:cubicBezTo>
                  <a:cubicBezTo>
                    <a:pt x="380" y="208"/>
                    <a:pt x="395" y="199"/>
                    <a:pt x="402" y="185"/>
                  </a:cubicBezTo>
                  <a:cubicBezTo>
                    <a:pt x="402" y="185"/>
                    <a:pt x="402" y="185"/>
                    <a:pt x="402" y="185"/>
                  </a:cubicBezTo>
                  <a:cubicBezTo>
                    <a:pt x="405" y="185"/>
                    <a:pt x="419" y="185"/>
                    <a:pt x="419" y="185"/>
                  </a:cubicBezTo>
                  <a:cubicBezTo>
                    <a:pt x="420" y="185"/>
                    <a:pt x="422" y="185"/>
                    <a:pt x="423" y="184"/>
                  </a:cubicBezTo>
                  <a:cubicBezTo>
                    <a:pt x="424" y="183"/>
                    <a:pt x="448" y="166"/>
                    <a:pt x="448" y="125"/>
                  </a:cubicBezTo>
                  <a:cubicBezTo>
                    <a:pt x="448" y="121"/>
                    <a:pt x="448" y="117"/>
                    <a:pt x="447" y="114"/>
                  </a:cubicBezTo>
                  <a:close/>
                  <a:moveTo>
                    <a:pt x="368" y="66"/>
                  </a:moveTo>
                  <a:cubicBezTo>
                    <a:pt x="256" y="66"/>
                    <a:pt x="256" y="66"/>
                    <a:pt x="256" y="66"/>
                  </a:cubicBezTo>
                  <a:cubicBezTo>
                    <a:pt x="256" y="16"/>
                    <a:pt x="256" y="16"/>
                    <a:pt x="256" y="16"/>
                  </a:cubicBezTo>
                  <a:cubicBezTo>
                    <a:pt x="296" y="18"/>
                    <a:pt x="326" y="32"/>
                    <a:pt x="346" y="47"/>
                  </a:cubicBezTo>
                  <a:cubicBezTo>
                    <a:pt x="355" y="54"/>
                    <a:pt x="363" y="61"/>
                    <a:pt x="368" y="66"/>
                  </a:cubicBezTo>
                  <a:close/>
                  <a:moveTo>
                    <a:pt x="240" y="16"/>
                  </a:moveTo>
                  <a:cubicBezTo>
                    <a:pt x="240" y="66"/>
                    <a:pt x="240" y="66"/>
                    <a:pt x="240" y="66"/>
                  </a:cubicBezTo>
                  <a:cubicBezTo>
                    <a:pt x="134" y="66"/>
                    <a:pt x="134" y="66"/>
                    <a:pt x="134" y="66"/>
                  </a:cubicBezTo>
                  <a:cubicBezTo>
                    <a:pt x="149" y="49"/>
                    <a:pt x="183" y="18"/>
                    <a:pt x="240" y="16"/>
                  </a:cubicBezTo>
                  <a:close/>
                  <a:moveTo>
                    <a:pt x="96" y="192"/>
                  </a:moveTo>
                  <a:cubicBezTo>
                    <a:pt x="80" y="192"/>
                    <a:pt x="68" y="179"/>
                    <a:pt x="67" y="163"/>
                  </a:cubicBezTo>
                  <a:cubicBezTo>
                    <a:pt x="68" y="148"/>
                    <a:pt x="80" y="135"/>
                    <a:pt x="96" y="135"/>
                  </a:cubicBezTo>
                  <a:cubicBezTo>
                    <a:pt x="112" y="135"/>
                    <a:pt x="125" y="148"/>
                    <a:pt x="125" y="163"/>
                  </a:cubicBezTo>
                  <a:cubicBezTo>
                    <a:pt x="125" y="179"/>
                    <a:pt x="112" y="192"/>
                    <a:pt x="96" y="192"/>
                  </a:cubicBezTo>
                  <a:close/>
                  <a:moveTo>
                    <a:pt x="363" y="192"/>
                  </a:moveTo>
                  <a:cubicBezTo>
                    <a:pt x="347" y="192"/>
                    <a:pt x="335" y="179"/>
                    <a:pt x="335" y="163"/>
                  </a:cubicBezTo>
                  <a:cubicBezTo>
                    <a:pt x="335" y="148"/>
                    <a:pt x="347" y="135"/>
                    <a:pt x="363" y="135"/>
                  </a:cubicBezTo>
                  <a:cubicBezTo>
                    <a:pt x="379" y="135"/>
                    <a:pt x="392" y="148"/>
                    <a:pt x="392" y="163"/>
                  </a:cubicBezTo>
                  <a:cubicBezTo>
                    <a:pt x="392" y="179"/>
                    <a:pt x="379" y="192"/>
                    <a:pt x="363" y="1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/>
          </p:spPr>
          <p:txBody>
            <a:bodyPr lIns="91394" tIns="45696" rIns="91394" bIns="45696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pitchFamily="34" charset="0"/>
              </a:endParaRPr>
            </a:p>
          </p:txBody>
        </p:sp>
        <p:sp>
          <p:nvSpPr>
            <p:cNvPr id="152" name="Freeform 5">
              <a:extLst>
                <a:ext uri="{FF2B5EF4-FFF2-40B4-BE49-F238E27FC236}">
                  <a16:creationId xmlns="" xmlns:a16="http://schemas.microsoft.com/office/drawing/2014/main" id="{69D5CAFB-1A3A-4A05-893B-A03255E59AF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rot="256425">
              <a:off x="1403037" y="5124884"/>
              <a:ext cx="133891" cy="133891"/>
            </a:xfrm>
            <a:custGeom>
              <a:avLst/>
              <a:gdLst>
                <a:gd name="T0" fmla="*/ 2147483647 w 144"/>
                <a:gd name="T1" fmla="*/ 2147483647 h 144"/>
                <a:gd name="T2" fmla="*/ 2147483647 w 144"/>
                <a:gd name="T3" fmla="*/ 2147483647 h 144"/>
                <a:gd name="T4" fmla="*/ 2147483647 w 144"/>
                <a:gd name="T5" fmla="*/ 2147483647 h 144"/>
                <a:gd name="T6" fmla="*/ 2147483647 w 144"/>
                <a:gd name="T7" fmla="*/ 2147483647 h 144"/>
                <a:gd name="T8" fmla="*/ 2147483647 w 144"/>
                <a:gd name="T9" fmla="*/ 2147483647 h 144"/>
                <a:gd name="T10" fmla="*/ 2147483647 w 144"/>
                <a:gd name="T11" fmla="*/ 2147483647 h 144"/>
                <a:gd name="T12" fmla="*/ 2147483647 w 144"/>
                <a:gd name="T13" fmla="*/ 2147483647 h 144"/>
                <a:gd name="T14" fmla="*/ 2147483647 w 144"/>
                <a:gd name="T15" fmla="*/ 2147483647 h 144"/>
                <a:gd name="T16" fmla="*/ 2147483647 w 144"/>
                <a:gd name="T17" fmla="*/ 0 h 144"/>
                <a:gd name="T18" fmla="*/ 0 w 144"/>
                <a:gd name="T19" fmla="*/ 2147483647 h 144"/>
                <a:gd name="T20" fmla="*/ 2147483647 w 144"/>
                <a:gd name="T21" fmla="*/ 2147483647 h 144"/>
                <a:gd name="T22" fmla="*/ 2147483647 w 144"/>
                <a:gd name="T23" fmla="*/ 2147483647 h 144"/>
                <a:gd name="T24" fmla="*/ 0 w 144"/>
                <a:gd name="T25" fmla="*/ 2147483647 h 144"/>
                <a:gd name="T26" fmla="*/ 2147483647 w 144"/>
                <a:gd name="T27" fmla="*/ 2147483647 h 144"/>
                <a:gd name="T28" fmla="*/ 2147483647 w 144"/>
                <a:gd name="T29" fmla="*/ 2147483647 h 144"/>
                <a:gd name="T30" fmla="*/ 2147483647 w 144"/>
                <a:gd name="T31" fmla="*/ 2147483647 h 144"/>
                <a:gd name="T32" fmla="*/ 2147483647 w 144"/>
                <a:gd name="T33" fmla="*/ 2147483647 h 144"/>
                <a:gd name="T34" fmla="*/ 2147483647 w 144"/>
                <a:gd name="T35" fmla="*/ 2147483647 h 144"/>
                <a:gd name="T36" fmla="*/ 2147483647 w 144"/>
                <a:gd name="T37" fmla="*/ 2147483647 h 144"/>
                <a:gd name="T38" fmla="*/ 2147483647 w 144"/>
                <a:gd name="T39" fmla="*/ 2147483647 h 144"/>
                <a:gd name="T40" fmla="*/ 2147483647 w 144"/>
                <a:gd name="T41" fmla="*/ 2147483647 h 144"/>
                <a:gd name="T42" fmla="*/ 2147483647 w 144"/>
                <a:gd name="T43" fmla="*/ 2147483647 h 144"/>
                <a:gd name="T44" fmla="*/ 2147483647 w 144"/>
                <a:gd name="T45" fmla="*/ 2147483647 h 144"/>
                <a:gd name="T46" fmla="*/ 2147483647 w 144"/>
                <a:gd name="T47" fmla="*/ 2147483647 h 144"/>
                <a:gd name="T48" fmla="*/ 2147483647 w 144"/>
                <a:gd name="T49" fmla="*/ 2147483647 h 144"/>
                <a:gd name="T50" fmla="*/ 2147483647 w 144"/>
                <a:gd name="T51" fmla="*/ 2147483647 h 144"/>
                <a:gd name="T52" fmla="*/ 0 w 144"/>
                <a:gd name="T53" fmla="*/ 2147483647 h 144"/>
                <a:gd name="T54" fmla="*/ 2147483647 w 144"/>
                <a:gd name="T55" fmla="*/ 2147483647 h 144"/>
                <a:gd name="T56" fmla="*/ 2147483647 w 144"/>
                <a:gd name="T57" fmla="*/ 2147483647 h 144"/>
                <a:gd name="T58" fmla="*/ 2147483647 w 144"/>
                <a:gd name="T59" fmla="*/ 2147483647 h 144"/>
                <a:gd name="T60" fmla="*/ 2147483647 w 144"/>
                <a:gd name="T61" fmla="*/ 2147483647 h 14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44" h="144">
                  <a:moveTo>
                    <a:pt x="8" y="16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41" y="16"/>
                    <a:pt x="71" y="29"/>
                    <a:pt x="93" y="51"/>
                  </a:cubicBezTo>
                  <a:cubicBezTo>
                    <a:pt x="115" y="73"/>
                    <a:pt x="128" y="103"/>
                    <a:pt x="128" y="136"/>
                  </a:cubicBezTo>
                  <a:cubicBezTo>
                    <a:pt x="128" y="141"/>
                    <a:pt x="132" y="144"/>
                    <a:pt x="136" y="144"/>
                  </a:cubicBezTo>
                  <a:cubicBezTo>
                    <a:pt x="138" y="144"/>
                    <a:pt x="140" y="144"/>
                    <a:pt x="142" y="142"/>
                  </a:cubicBezTo>
                  <a:cubicBezTo>
                    <a:pt x="143" y="141"/>
                    <a:pt x="144" y="139"/>
                    <a:pt x="144" y="136"/>
                  </a:cubicBezTo>
                  <a:cubicBezTo>
                    <a:pt x="144" y="99"/>
                    <a:pt x="129" y="65"/>
                    <a:pt x="104" y="40"/>
                  </a:cubicBezTo>
                  <a:cubicBezTo>
                    <a:pt x="79" y="15"/>
                    <a:pt x="45" y="0"/>
                    <a:pt x="8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12"/>
                    <a:pt x="3" y="16"/>
                    <a:pt x="8" y="16"/>
                  </a:cubicBezTo>
                  <a:close/>
                  <a:moveTo>
                    <a:pt x="8" y="77"/>
                  </a:moveTo>
                  <a:cubicBezTo>
                    <a:pt x="3" y="77"/>
                    <a:pt x="0" y="80"/>
                    <a:pt x="0" y="85"/>
                  </a:cubicBezTo>
                  <a:cubicBezTo>
                    <a:pt x="0" y="89"/>
                    <a:pt x="3" y="93"/>
                    <a:pt x="8" y="93"/>
                  </a:cubicBezTo>
                  <a:cubicBezTo>
                    <a:pt x="20" y="93"/>
                    <a:pt x="30" y="98"/>
                    <a:pt x="38" y="106"/>
                  </a:cubicBezTo>
                  <a:cubicBezTo>
                    <a:pt x="46" y="114"/>
                    <a:pt x="51" y="124"/>
                    <a:pt x="51" y="136"/>
                  </a:cubicBezTo>
                  <a:cubicBezTo>
                    <a:pt x="51" y="141"/>
                    <a:pt x="55" y="144"/>
                    <a:pt x="59" y="144"/>
                  </a:cubicBezTo>
                  <a:cubicBezTo>
                    <a:pt x="61" y="144"/>
                    <a:pt x="63" y="144"/>
                    <a:pt x="65" y="142"/>
                  </a:cubicBezTo>
                  <a:cubicBezTo>
                    <a:pt x="66" y="141"/>
                    <a:pt x="67" y="139"/>
                    <a:pt x="67" y="136"/>
                  </a:cubicBezTo>
                  <a:cubicBezTo>
                    <a:pt x="67" y="120"/>
                    <a:pt x="60" y="105"/>
                    <a:pt x="50" y="94"/>
                  </a:cubicBezTo>
                  <a:cubicBezTo>
                    <a:pt x="39" y="84"/>
                    <a:pt x="24" y="77"/>
                    <a:pt x="8" y="77"/>
                  </a:cubicBezTo>
                  <a:close/>
                  <a:moveTo>
                    <a:pt x="98" y="144"/>
                  </a:moveTo>
                  <a:cubicBezTo>
                    <a:pt x="100" y="144"/>
                    <a:pt x="102" y="144"/>
                    <a:pt x="103" y="142"/>
                  </a:cubicBezTo>
                  <a:cubicBezTo>
                    <a:pt x="105" y="141"/>
                    <a:pt x="106" y="139"/>
                    <a:pt x="106" y="136"/>
                  </a:cubicBezTo>
                  <a:cubicBezTo>
                    <a:pt x="106" y="109"/>
                    <a:pt x="95" y="85"/>
                    <a:pt x="77" y="67"/>
                  </a:cubicBezTo>
                  <a:cubicBezTo>
                    <a:pt x="59" y="49"/>
                    <a:pt x="35" y="38"/>
                    <a:pt x="8" y="38"/>
                  </a:cubicBezTo>
                  <a:cubicBezTo>
                    <a:pt x="3" y="38"/>
                    <a:pt x="0" y="42"/>
                    <a:pt x="0" y="46"/>
                  </a:cubicBezTo>
                  <a:cubicBezTo>
                    <a:pt x="0" y="51"/>
                    <a:pt x="3" y="54"/>
                    <a:pt x="8" y="54"/>
                  </a:cubicBezTo>
                  <a:cubicBezTo>
                    <a:pt x="30" y="54"/>
                    <a:pt x="51" y="64"/>
                    <a:pt x="66" y="78"/>
                  </a:cubicBezTo>
                  <a:cubicBezTo>
                    <a:pt x="80" y="93"/>
                    <a:pt x="90" y="114"/>
                    <a:pt x="90" y="136"/>
                  </a:cubicBezTo>
                  <a:cubicBezTo>
                    <a:pt x="90" y="141"/>
                    <a:pt x="93" y="144"/>
                    <a:pt x="98" y="144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6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pitchFamily="34" charset="0"/>
              </a:endParaRPr>
            </a:p>
          </p:txBody>
        </p:sp>
      </p:grpSp>
      <p:sp>
        <p:nvSpPr>
          <p:cNvPr id="153" name="Freeform 3">
            <a:extLst>
              <a:ext uri="{FF2B5EF4-FFF2-40B4-BE49-F238E27FC236}">
                <a16:creationId xmlns="" xmlns:a16="http://schemas.microsoft.com/office/drawing/2014/main" id="{C465C089-38FA-402C-B9AB-DEC5E513C56B}"/>
              </a:ext>
            </a:extLst>
          </p:cNvPr>
          <p:cNvSpPr>
            <a:spLocks noChangeAspect="1"/>
          </p:cNvSpPr>
          <p:nvPr/>
        </p:nvSpPr>
        <p:spPr bwMode="auto">
          <a:xfrm>
            <a:off x="3068319" y="3678315"/>
            <a:ext cx="813195" cy="515794"/>
          </a:xfrm>
          <a:custGeom>
            <a:avLst/>
            <a:gdLst>
              <a:gd name="T0" fmla="*/ 2147483646 w 462"/>
              <a:gd name="T1" fmla="*/ 2147483646 h 293"/>
              <a:gd name="T2" fmla="*/ 2147483646 w 462"/>
              <a:gd name="T3" fmla="*/ 2147483646 h 293"/>
              <a:gd name="T4" fmla="*/ 2147483646 w 462"/>
              <a:gd name="T5" fmla="*/ 2147483646 h 293"/>
              <a:gd name="T6" fmla="*/ 2147483646 w 462"/>
              <a:gd name="T7" fmla="*/ 2147483646 h 293"/>
              <a:gd name="T8" fmla="*/ 2147483646 w 462"/>
              <a:gd name="T9" fmla="*/ 2147483646 h 293"/>
              <a:gd name="T10" fmla="*/ 2147483646 w 462"/>
              <a:gd name="T11" fmla="*/ 2147483646 h 293"/>
              <a:gd name="T12" fmla="*/ 2147483646 w 462"/>
              <a:gd name="T13" fmla="*/ 2147483646 h 293"/>
              <a:gd name="T14" fmla="*/ 2147483646 w 462"/>
              <a:gd name="T15" fmla="*/ 2147483646 h 293"/>
              <a:gd name="T16" fmla="*/ 2147483646 w 462"/>
              <a:gd name="T17" fmla="*/ 2147483646 h 293"/>
              <a:gd name="T18" fmla="*/ 2147483646 w 462"/>
              <a:gd name="T19" fmla="*/ 2147483646 h 293"/>
              <a:gd name="T20" fmla="*/ 2147483646 w 462"/>
              <a:gd name="T21" fmla="*/ 2147483646 h 293"/>
              <a:gd name="T22" fmla="*/ 2147483646 w 462"/>
              <a:gd name="T23" fmla="*/ 2147483646 h 293"/>
              <a:gd name="T24" fmla="*/ 2147483646 w 462"/>
              <a:gd name="T25" fmla="*/ 2147483646 h 293"/>
              <a:gd name="T26" fmla="*/ 2147483646 w 462"/>
              <a:gd name="T27" fmla="*/ 2147483646 h 293"/>
              <a:gd name="T28" fmla="*/ 2147483646 w 462"/>
              <a:gd name="T29" fmla="*/ 2147483646 h 293"/>
              <a:gd name="T30" fmla="*/ 2147483646 w 462"/>
              <a:gd name="T31" fmla="*/ 2147483646 h 293"/>
              <a:gd name="T32" fmla="*/ 2147483646 w 462"/>
              <a:gd name="T33" fmla="*/ 2147483646 h 293"/>
              <a:gd name="T34" fmla="*/ 2147483646 w 462"/>
              <a:gd name="T35" fmla="*/ 2147483646 h 293"/>
              <a:gd name="T36" fmla="*/ 2147483646 w 462"/>
              <a:gd name="T37" fmla="*/ 2147483646 h 293"/>
              <a:gd name="T38" fmla="*/ 2147483646 w 462"/>
              <a:gd name="T39" fmla="*/ 2147483646 h 293"/>
              <a:gd name="T40" fmla="*/ 2147483646 w 462"/>
              <a:gd name="T41" fmla="*/ 2147483646 h 293"/>
              <a:gd name="T42" fmla="*/ 2147483646 w 462"/>
              <a:gd name="T43" fmla="*/ 2147483646 h 293"/>
              <a:gd name="T44" fmla="*/ 2147483646 w 462"/>
              <a:gd name="T45" fmla="*/ 2147483646 h 293"/>
              <a:gd name="T46" fmla="*/ 2147483646 w 462"/>
              <a:gd name="T47" fmla="*/ 2147483646 h 293"/>
              <a:gd name="T48" fmla="*/ 2147483646 w 462"/>
              <a:gd name="T49" fmla="*/ 2147483646 h 293"/>
              <a:gd name="T50" fmla="*/ 2147483646 w 462"/>
              <a:gd name="T51" fmla="*/ 2147483646 h 293"/>
              <a:gd name="T52" fmla="*/ 2147483646 w 462"/>
              <a:gd name="T53" fmla="*/ 0 h 293"/>
              <a:gd name="T54" fmla="*/ 2147483646 w 462"/>
              <a:gd name="T55" fmla="*/ 2147483646 h 293"/>
              <a:gd name="T56" fmla="*/ 0 w 462"/>
              <a:gd name="T57" fmla="*/ 2147483646 h 293"/>
              <a:gd name="T58" fmla="*/ 2147483646 w 462"/>
              <a:gd name="T59" fmla="*/ 2147483646 h 293"/>
              <a:gd name="T60" fmla="*/ 2147483646 w 462"/>
              <a:gd name="T61" fmla="*/ 2147483646 h 293"/>
              <a:gd name="T62" fmla="*/ 2147483646 w 462"/>
              <a:gd name="T63" fmla="*/ 2147483646 h 293"/>
              <a:gd name="T64" fmla="*/ 2147483646 w 462"/>
              <a:gd name="T65" fmla="*/ 2147483646 h 293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462" h="293">
                <a:moveTo>
                  <a:pt x="435" y="148"/>
                </a:moveTo>
                <a:cubicBezTo>
                  <a:pt x="437" y="140"/>
                  <a:pt x="439" y="132"/>
                  <a:pt x="439" y="123"/>
                </a:cubicBezTo>
                <a:cubicBezTo>
                  <a:pt x="439" y="104"/>
                  <a:pt x="433" y="86"/>
                  <a:pt x="422" y="70"/>
                </a:cubicBezTo>
                <a:cubicBezTo>
                  <a:pt x="420" y="67"/>
                  <a:pt x="415" y="66"/>
                  <a:pt x="411" y="68"/>
                </a:cubicBezTo>
                <a:cubicBezTo>
                  <a:pt x="407" y="71"/>
                  <a:pt x="406" y="76"/>
                  <a:pt x="409" y="79"/>
                </a:cubicBezTo>
                <a:cubicBezTo>
                  <a:pt x="418" y="92"/>
                  <a:pt x="423" y="108"/>
                  <a:pt x="423" y="123"/>
                </a:cubicBezTo>
                <a:cubicBezTo>
                  <a:pt x="423" y="132"/>
                  <a:pt x="421" y="140"/>
                  <a:pt x="419" y="148"/>
                </a:cubicBezTo>
                <a:cubicBezTo>
                  <a:pt x="418" y="151"/>
                  <a:pt x="419" y="154"/>
                  <a:pt x="421" y="156"/>
                </a:cubicBezTo>
                <a:cubicBezTo>
                  <a:pt x="437" y="170"/>
                  <a:pt x="446" y="189"/>
                  <a:pt x="446" y="209"/>
                </a:cubicBezTo>
                <a:cubicBezTo>
                  <a:pt x="446" y="247"/>
                  <a:pt x="415" y="277"/>
                  <a:pt x="378" y="277"/>
                </a:cubicBezTo>
                <a:cubicBezTo>
                  <a:pt x="88" y="277"/>
                  <a:pt x="88" y="277"/>
                  <a:pt x="88" y="277"/>
                </a:cubicBezTo>
                <a:cubicBezTo>
                  <a:pt x="48" y="277"/>
                  <a:pt x="16" y="245"/>
                  <a:pt x="16" y="206"/>
                </a:cubicBezTo>
                <a:cubicBezTo>
                  <a:pt x="16" y="178"/>
                  <a:pt x="31" y="154"/>
                  <a:pt x="56" y="141"/>
                </a:cubicBezTo>
                <a:cubicBezTo>
                  <a:pt x="59" y="140"/>
                  <a:pt x="60" y="137"/>
                  <a:pt x="60" y="134"/>
                </a:cubicBezTo>
                <a:cubicBezTo>
                  <a:pt x="60" y="134"/>
                  <a:pt x="60" y="133"/>
                  <a:pt x="60" y="133"/>
                </a:cubicBezTo>
                <a:cubicBezTo>
                  <a:pt x="60" y="69"/>
                  <a:pt x="113" y="16"/>
                  <a:pt x="178" y="16"/>
                </a:cubicBezTo>
                <a:cubicBezTo>
                  <a:pt x="217" y="16"/>
                  <a:pt x="254" y="36"/>
                  <a:pt x="276" y="68"/>
                </a:cubicBezTo>
                <a:cubicBezTo>
                  <a:pt x="277" y="70"/>
                  <a:pt x="279" y="72"/>
                  <a:pt x="282" y="72"/>
                </a:cubicBezTo>
                <a:cubicBezTo>
                  <a:pt x="284" y="72"/>
                  <a:pt x="287" y="71"/>
                  <a:pt x="288" y="70"/>
                </a:cubicBezTo>
                <a:cubicBezTo>
                  <a:pt x="288" y="70"/>
                  <a:pt x="289" y="69"/>
                  <a:pt x="289" y="69"/>
                </a:cubicBezTo>
                <a:cubicBezTo>
                  <a:pt x="290" y="68"/>
                  <a:pt x="309" y="45"/>
                  <a:pt x="344" y="45"/>
                </a:cubicBezTo>
                <a:cubicBezTo>
                  <a:pt x="360" y="45"/>
                  <a:pt x="375" y="50"/>
                  <a:pt x="388" y="59"/>
                </a:cubicBezTo>
                <a:cubicBezTo>
                  <a:pt x="392" y="61"/>
                  <a:pt x="397" y="60"/>
                  <a:pt x="399" y="56"/>
                </a:cubicBezTo>
                <a:cubicBezTo>
                  <a:pt x="402" y="53"/>
                  <a:pt x="401" y="48"/>
                  <a:pt x="397" y="45"/>
                </a:cubicBezTo>
                <a:cubicBezTo>
                  <a:pt x="381" y="35"/>
                  <a:pt x="363" y="29"/>
                  <a:pt x="344" y="29"/>
                </a:cubicBezTo>
                <a:cubicBezTo>
                  <a:pt x="314" y="29"/>
                  <a:pt x="294" y="43"/>
                  <a:pt x="284" y="52"/>
                </a:cubicBezTo>
                <a:cubicBezTo>
                  <a:pt x="258" y="19"/>
                  <a:pt x="220" y="0"/>
                  <a:pt x="178" y="0"/>
                </a:cubicBezTo>
                <a:cubicBezTo>
                  <a:pt x="106" y="0"/>
                  <a:pt x="47" y="58"/>
                  <a:pt x="44" y="129"/>
                </a:cubicBezTo>
                <a:cubicBezTo>
                  <a:pt x="17" y="145"/>
                  <a:pt x="0" y="174"/>
                  <a:pt x="0" y="206"/>
                </a:cubicBezTo>
                <a:cubicBezTo>
                  <a:pt x="0" y="254"/>
                  <a:pt x="39" y="293"/>
                  <a:pt x="88" y="293"/>
                </a:cubicBezTo>
                <a:cubicBezTo>
                  <a:pt x="378" y="293"/>
                  <a:pt x="378" y="293"/>
                  <a:pt x="378" y="293"/>
                </a:cubicBezTo>
                <a:cubicBezTo>
                  <a:pt x="424" y="293"/>
                  <a:pt x="462" y="256"/>
                  <a:pt x="462" y="209"/>
                </a:cubicBezTo>
                <a:cubicBezTo>
                  <a:pt x="462" y="186"/>
                  <a:pt x="452" y="164"/>
                  <a:pt x="435" y="14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pSp>
        <p:nvGrpSpPr>
          <p:cNvPr id="154" name="Group 153">
            <a:extLst>
              <a:ext uri="{FF2B5EF4-FFF2-40B4-BE49-F238E27FC236}">
                <a16:creationId xmlns="" xmlns:a16="http://schemas.microsoft.com/office/drawing/2014/main" id="{7B8F6461-49AE-414C-B4C5-DCAA99FF8655}"/>
              </a:ext>
            </a:extLst>
          </p:cNvPr>
          <p:cNvGrpSpPr/>
          <p:nvPr/>
        </p:nvGrpSpPr>
        <p:grpSpPr>
          <a:xfrm>
            <a:off x="4476448" y="5111430"/>
            <a:ext cx="892987" cy="463116"/>
            <a:chOff x="681812" y="5124884"/>
            <a:chExt cx="892987" cy="463116"/>
          </a:xfrm>
        </p:grpSpPr>
        <p:sp>
          <p:nvSpPr>
            <p:cNvPr id="155" name="Freeform 14" descr="bpct-blend3">
              <a:extLst>
                <a:ext uri="{FF2B5EF4-FFF2-40B4-BE49-F238E27FC236}">
                  <a16:creationId xmlns="" xmlns:a16="http://schemas.microsoft.com/office/drawing/2014/main" id="{178F8CA7-8E86-42A2-BCF2-B419A189ED1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81812" y="5199942"/>
              <a:ext cx="892987" cy="388058"/>
            </a:xfrm>
            <a:custGeom>
              <a:avLst/>
              <a:gdLst>
                <a:gd name="T0" fmla="*/ 2147483647 w 448"/>
                <a:gd name="T1" fmla="*/ 2147483647 h 208"/>
                <a:gd name="T2" fmla="*/ 2147483647 w 448"/>
                <a:gd name="T3" fmla="*/ 2147483647 h 208"/>
                <a:gd name="T4" fmla="*/ 2147483647 w 448"/>
                <a:gd name="T5" fmla="*/ 2147483647 h 208"/>
                <a:gd name="T6" fmla="*/ 2147483647 w 448"/>
                <a:gd name="T7" fmla="*/ 2147483647 h 208"/>
                <a:gd name="T8" fmla="*/ 2147483647 w 448"/>
                <a:gd name="T9" fmla="*/ 2147483647 h 208"/>
                <a:gd name="T10" fmla="*/ 2147483647 w 448"/>
                <a:gd name="T11" fmla="*/ 2147483647 h 208"/>
                <a:gd name="T12" fmla="*/ 2147483647 w 448"/>
                <a:gd name="T13" fmla="*/ 2147483647 h 208"/>
                <a:gd name="T14" fmla="*/ 2147483647 w 448"/>
                <a:gd name="T15" fmla="*/ 2147483647 h 208"/>
                <a:gd name="T16" fmla="*/ 2147483647 w 448"/>
                <a:gd name="T17" fmla="*/ 2147483647 h 208"/>
                <a:gd name="T18" fmla="*/ 2147483647 w 448"/>
                <a:gd name="T19" fmla="*/ 2147483647 h 208"/>
                <a:gd name="T20" fmla="*/ 2147483647 w 448"/>
                <a:gd name="T21" fmla="*/ 2147483647 h 208"/>
                <a:gd name="T22" fmla="*/ 2147483647 w 448"/>
                <a:gd name="T23" fmla="*/ 2147483647 h 208"/>
                <a:gd name="T24" fmla="*/ 2147483647 w 448"/>
                <a:gd name="T25" fmla="*/ 2147483647 h 208"/>
                <a:gd name="T26" fmla="*/ 2147483647 w 448"/>
                <a:gd name="T27" fmla="*/ 2147483647 h 208"/>
                <a:gd name="T28" fmla="*/ 2147483647 w 448"/>
                <a:gd name="T29" fmla="*/ 2147483647 h 208"/>
                <a:gd name="T30" fmla="*/ 2147483647 w 448"/>
                <a:gd name="T31" fmla="*/ 2147483647 h 208"/>
                <a:gd name="T32" fmla="*/ 2147483647 w 448"/>
                <a:gd name="T33" fmla="*/ 2147483647 h 208"/>
                <a:gd name="T34" fmla="*/ 2147483647 w 448"/>
                <a:gd name="T35" fmla="*/ 2147483647 h 208"/>
                <a:gd name="T36" fmla="*/ 2147483647 w 448"/>
                <a:gd name="T37" fmla="*/ 2147483647 h 208"/>
                <a:gd name="T38" fmla="*/ 2147483647 w 448"/>
                <a:gd name="T39" fmla="*/ 2147483647 h 208"/>
                <a:gd name="T40" fmla="*/ 2147483647 w 448"/>
                <a:gd name="T41" fmla="*/ 2147483647 h 208"/>
                <a:gd name="T42" fmla="*/ 2147483647 w 448"/>
                <a:gd name="T43" fmla="*/ 2147483647 h 208"/>
                <a:gd name="T44" fmla="*/ 2147483647 w 448"/>
                <a:gd name="T45" fmla="*/ 2147483647 h 208"/>
                <a:gd name="T46" fmla="*/ 2147483647 w 448"/>
                <a:gd name="T47" fmla="*/ 2147483647 h 208"/>
                <a:gd name="T48" fmla="*/ 2147483647 w 448"/>
                <a:gd name="T49" fmla="*/ 2147483647 h 208"/>
                <a:gd name="T50" fmla="*/ 2147483647 w 448"/>
                <a:gd name="T51" fmla="*/ 2147483647 h 208"/>
                <a:gd name="T52" fmla="*/ 2147483647 w 448"/>
                <a:gd name="T53" fmla="*/ 2147483647 h 208"/>
                <a:gd name="T54" fmla="*/ 2147483647 w 448"/>
                <a:gd name="T55" fmla="*/ 2147483647 h 208"/>
                <a:gd name="T56" fmla="*/ 2147483647 w 448"/>
                <a:gd name="T57" fmla="*/ 2147483647 h 208"/>
                <a:gd name="T58" fmla="*/ 2147483647 w 448"/>
                <a:gd name="T59" fmla="*/ 2147483647 h 208"/>
                <a:gd name="T60" fmla="*/ 2147483647 w 448"/>
                <a:gd name="T61" fmla="*/ 2147483647 h 208"/>
                <a:gd name="T62" fmla="*/ 2147483647 w 448"/>
                <a:gd name="T63" fmla="*/ 2147483647 h 208"/>
                <a:gd name="T64" fmla="*/ 2147483647 w 448"/>
                <a:gd name="T65" fmla="*/ 2147483647 h 208"/>
                <a:gd name="T66" fmla="*/ 2147483647 w 448"/>
                <a:gd name="T67" fmla="*/ 2147483647 h 20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448" h="208">
                  <a:moveTo>
                    <a:pt x="447" y="114"/>
                  </a:moveTo>
                  <a:cubicBezTo>
                    <a:pt x="446" y="110"/>
                    <a:pt x="442" y="107"/>
                    <a:pt x="437" y="108"/>
                  </a:cubicBezTo>
                  <a:cubicBezTo>
                    <a:pt x="433" y="109"/>
                    <a:pt x="431" y="114"/>
                    <a:pt x="432" y="118"/>
                  </a:cubicBezTo>
                  <a:cubicBezTo>
                    <a:pt x="432" y="120"/>
                    <a:pt x="432" y="122"/>
                    <a:pt x="432" y="125"/>
                  </a:cubicBezTo>
                  <a:cubicBezTo>
                    <a:pt x="432" y="142"/>
                    <a:pt x="427" y="154"/>
                    <a:pt x="423" y="161"/>
                  </a:cubicBezTo>
                  <a:cubicBezTo>
                    <a:pt x="420" y="164"/>
                    <a:pt x="418" y="167"/>
                    <a:pt x="416" y="169"/>
                  </a:cubicBezTo>
                  <a:cubicBezTo>
                    <a:pt x="416" y="169"/>
                    <a:pt x="416" y="169"/>
                    <a:pt x="416" y="169"/>
                  </a:cubicBezTo>
                  <a:cubicBezTo>
                    <a:pt x="413" y="169"/>
                    <a:pt x="410" y="169"/>
                    <a:pt x="408" y="169"/>
                  </a:cubicBezTo>
                  <a:cubicBezTo>
                    <a:pt x="408" y="167"/>
                    <a:pt x="408" y="165"/>
                    <a:pt x="408" y="163"/>
                  </a:cubicBezTo>
                  <a:cubicBezTo>
                    <a:pt x="408" y="139"/>
                    <a:pt x="388" y="119"/>
                    <a:pt x="363" y="119"/>
                  </a:cubicBezTo>
                  <a:cubicBezTo>
                    <a:pt x="339" y="119"/>
                    <a:pt x="319" y="139"/>
                    <a:pt x="319" y="163"/>
                  </a:cubicBezTo>
                  <a:cubicBezTo>
                    <a:pt x="319" y="165"/>
                    <a:pt x="319" y="167"/>
                    <a:pt x="319" y="169"/>
                  </a:cubicBezTo>
                  <a:cubicBezTo>
                    <a:pt x="266" y="169"/>
                    <a:pt x="197" y="169"/>
                    <a:pt x="140" y="169"/>
                  </a:cubicBezTo>
                  <a:cubicBezTo>
                    <a:pt x="141" y="167"/>
                    <a:pt x="141" y="165"/>
                    <a:pt x="141" y="163"/>
                  </a:cubicBezTo>
                  <a:cubicBezTo>
                    <a:pt x="141" y="139"/>
                    <a:pt x="121" y="119"/>
                    <a:pt x="96" y="119"/>
                  </a:cubicBezTo>
                  <a:cubicBezTo>
                    <a:pt x="71" y="119"/>
                    <a:pt x="52" y="139"/>
                    <a:pt x="51" y="163"/>
                  </a:cubicBezTo>
                  <a:cubicBezTo>
                    <a:pt x="51" y="165"/>
                    <a:pt x="52" y="167"/>
                    <a:pt x="52" y="169"/>
                  </a:cubicBezTo>
                  <a:cubicBezTo>
                    <a:pt x="40" y="169"/>
                    <a:pt x="32" y="169"/>
                    <a:pt x="29" y="169"/>
                  </a:cubicBezTo>
                  <a:cubicBezTo>
                    <a:pt x="23" y="169"/>
                    <a:pt x="21" y="167"/>
                    <a:pt x="19" y="163"/>
                  </a:cubicBezTo>
                  <a:cubicBezTo>
                    <a:pt x="17" y="159"/>
                    <a:pt x="16" y="152"/>
                    <a:pt x="16" y="147"/>
                  </a:cubicBezTo>
                  <a:cubicBezTo>
                    <a:pt x="16" y="136"/>
                    <a:pt x="21" y="126"/>
                    <a:pt x="30" y="118"/>
                  </a:cubicBezTo>
                  <a:cubicBezTo>
                    <a:pt x="44" y="105"/>
                    <a:pt x="67" y="96"/>
                    <a:pt x="85" y="90"/>
                  </a:cubicBezTo>
                  <a:cubicBezTo>
                    <a:pt x="95" y="87"/>
                    <a:pt x="103" y="85"/>
                    <a:pt x="109" y="84"/>
                  </a:cubicBezTo>
                  <a:cubicBezTo>
                    <a:pt x="114" y="83"/>
                    <a:pt x="117" y="82"/>
                    <a:pt x="119" y="82"/>
                  </a:cubicBezTo>
                  <a:cubicBezTo>
                    <a:pt x="384" y="82"/>
                    <a:pt x="384" y="82"/>
                    <a:pt x="384" y="82"/>
                  </a:cubicBezTo>
                  <a:cubicBezTo>
                    <a:pt x="385" y="82"/>
                    <a:pt x="386" y="82"/>
                    <a:pt x="386" y="83"/>
                  </a:cubicBezTo>
                  <a:cubicBezTo>
                    <a:pt x="392" y="84"/>
                    <a:pt x="406" y="89"/>
                    <a:pt x="417" y="97"/>
                  </a:cubicBezTo>
                  <a:cubicBezTo>
                    <a:pt x="420" y="100"/>
                    <a:pt x="425" y="99"/>
                    <a:pt x="428" y="96"/>
                  </a:cubicBezTo>
                  <a:cubicBezTo>
                    <a:pt x="430" y="92"/>
                    <a:pt x="430" y="87"/>
                    <a:pt x="426" y="84"/>
                  </a:cubicBezTo>
                  <a:cubicBezTo>
                    <a:pt x="412" y="74"/>
                    <a:pt x="397" y="69"/>
                    <a:pt x="390" y="67"/>
                  </a:cubicBezTo>
                  <a:cubicBezTo>
                    <a:pt x="380" y="55"/>
                    <a:pt x="333" y="0"/>
                    <a:pt x="248" y="0"/>
                  </a:cubicBezTo>
                  <a:cubicBezTo>
                    <a:pt x="165" y="0"/>
                    <a:pt x="123" y="53"/>
                    <a:pt x="113" y="67"/>
                  </a:cubicBezTo>
                  <a:cubicBezTo>
                    <a:pt x="105" y="68"/>
                    <a:pt x="82" y="73"/>
                    <a:pt x="60" y="82"/>
                  </a:cubicBezTo>
                  <a:cubicBezTo>
                    <a:pt x="46" y="88"/>
                    <a:pt x="31" y="96"/>
                    <a:pt x="20" y="106"/>
                  </a:cubicBezTo>
                  <a:cubicBezTo>
                    <a:pt x="8" y="116"/>
                    <a:pt x="0" y="130"/>
                    <a:pt x="0" y="147"/>
                  </a:cubicBezTo>
                  <a:cubicBezTo>
                    <a:pt x="0" y="153"/>
                    <a:pt x="1" y="162"/>
                    <a:pt x="5" y="170"/>
                  </a:cubicBezTo>
                  <a:cubicBezTo>
                    <a:pt x="8" y="178"/>
                    <a:pt x="17" y="185"/>
                    <a:pt x="29" y="185"/>
                  </a:cubicBezTo>
                  <a:cubicBezTo>
                    <a:pt x="29" y="185"/>
                    <a:pt x="29" y="185"/>
                    <a:pt x="29" y="185"/>
                  </a:cubicBezTo>
                  <a:cubicBezTo>
                    <a:pt x="32" y="185"/>
                    <a:pt x="42" y="185"/>
                    <a:pt x="57" y="185"/>
                  </a:cubicBezTo>
                  <a:cubicBezTo>
                    <a:pt x="65" y="199"/>
                    <a:pt x="79" y="208"/>
                    <a:pt x="96" y="208"/>
                  </a:cubicBezTo>
                  <a:cubicBezTo>
                    <a:pt x="113" y="208"/>
                    <a:pt x="127" y="199"/>
                    <a:pt x="135" y="185"/>
                  </a:cubicBezTo>
                  <a:cubicBezTo>
                    <a:pt x="195" y="185"/>
                    <a:pt x="269" y="185"/>
                    <a:pt x="324" y="185"/>
                  </a:cubicBezTo>
                  <a:cubicBezTo>
                    <a:pt x="332" y="199"/>
                    <a:pt x="347" y="208"/>
                    <a:pt x="363" y="208"/>
                  </a:cubicBezTo>
                  <a:cubicBezTo>
                    <a:pt x="380" y="208"/>
                    <a:pt x="395" y="199"/>
                    <a:pt x="402" y="185"/>
                  </a:cubicBezTo>
                  <a:cubicBezTo>
                    <a:pt x="402" y="185"/>
                    <a:pt x="402" y="185"/>
                    <a:pt x="402" y="185"/>
                  </a:cubicBezTo>
                  <a:cubicBezTo>
                    <a:pt x="405" y="185"/>
                    <a:pt x="419" y="185"/>
                    <a:pt x="419" y="185"/>
                  </a:cubicBezTo>
                  <a:cubicBezTo>
                    <a:pt x="420" y="185"/>
                    <a:pt x="422" y="185"/>
                    <a:pt x="423" y="184"/>
                  </a:cubicBezTo>
                  <a:cubicBezTo>
                    <a:pt x="424" y="183"/>
                    <a:pt x="448" y="166"/>
                    <a:pt x="448" y="125"/>
                  </a:cubicBezTo>
                  <a:cubicBezTo>
                    <a:pt x="448" y="121"/>
                    <a:pt x="448" y="117"/>
                    <a:pt x="447" y="114"/>
                  </a:cubicBezTo>
                  <a:close/>
                  <a:moveTo>
                    <a:pt x="368" y="66"/>
                  </a:moveTo>
                  <a:cubicBezTo>
                    <a:pt x="256" y="66"/>
                    <a:pt x="256" y="66"/>
                    <a:pt x="256" y="66"/>
                  </a:cubicBezTo>
                  <a:cubicBezTo>
                    <a:pt x="256" y="16"/>
                    <a:pt x="256" y="16"/>
                    <a:pt x="256" y="16"/>
                  </a:cubicBezTo>
                  <a:cubicBezTo>
                    <a:pt x="296" y="18"/>
                    <a:pt x="326" y="32"/>
                    <a:pt x="346" y="47"/>
                  </a:cubicBezTo>
                  <a:cubicBezTo>
                    <a:pt x="355" y="54"/>
                    <a:pt x="363" y="61"/>
                    <a:pt x="368" y="66"/>
                  </a:cubicBezTo>
                  <a:close/>
                  <a:moveTo>
                    <a:pt x="240" y="16"/>
                  </a:moveTo>
                  <a:cubicBezTo>
                    <a:pt x="240" y="66"/>
                    <a:pt x="240" y="66"/>
                    <a:pt x="240" y="66"/>
                  </a:cubicBezTo>
                  <a:cubicBezTo>
                    <a:pt x="134" y="66"/>
                    <a:pt x="134" y="66"/>
                    <a:pt x="134" y="66"/>
                  </a:cubicBezTo>
                  <a:cubicBezTo>
                    <a:pt x="149" y="49"/>
                    <a:pt x="183" y="18"/>
                    <a:pt x="240" y="16"/>
                  </a:cubicBezTo>
                  <a:close/>
                  <a:moveTo>
                    <a:pt x="96" y="192"/>
                  </a:moveTo>
                  <a:cubicBezTo>
                    <a:pt x="80" y="192"/>
                    <a:pt x="68" y="179"/>
                    <a:pt x="67" y="163"/>
                  </a:cubicBezTo>
                  <a:cubicBezTo>
                    <a:pt x="68" y="148"/>
                    <a:pt x="80" y="135"/>
                    <a:pt x="96" y="135"/>
                  </a:cubicBezTo>
                  <a:cubicBezTo>
                    <a:pt x="112" y="135"/>
                    <a:pt x="125" y="148"/>
                    <a:pt x="125" y="163"/>
                  </a:cubicBezTo>
                  <a:cubicBezTo>
                    <a:pt x="125" y="179"/>
                    <a:pt x="112" y="192"/>
                    <a:pt x="96" y="192"/>
                  </a:cubicBezTo>
                  <a:close/>
                  <a:moveTo>
                    <a:pt x="363" y="192"/>
                  </a:moveTo>
                  <a:cubicBezTo>
                    <a:pt x="347" y="192"/>
                    <a:pt x="335" y="179"/>
                    <a:pt x="335" y="163"/>
                  </a:cubicBezTo>
                  <a:cubicBezTo>
                    <a:pt x="335" y="148"/>
                    <a:pt x="347" y="135"/>
                    <a:pt x="363" y="135"/>
                  </a:cubicBezTo>
                  <a:cubicBezTo>
                    <a:pt x="379" y="135"/>
                    <a:pt x="392" y="148"/>
                    <a:pt x="392" y="163"/>
                  </a:cubicBezTo>
                  <a:cubicBezTo>
                    <a:pt x="392" y="179"/>
                    <a:pt x="379" y="192"/>
                    <a:pt x="363" y="1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/>
          </p:spPr>
          <p:txBody>
            <a:bodyPr lIns="91394" tIns="45696" rIns="91394" bIns="45696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pitchFamily="34" charset="0"/>
              </a:endParaRPr>
            </a:p>
          </p:txBody>
        </p:sp>
        <p:sp>
          <p:nvSpPr>
            <p:cNvPr id="156" name="Freeform 5">
              <a:extLst>
                <a:ext uri="{FF2B5EF4-FFF2-40B4-BE49-F238E27FC236}">
                  <a16:creationId xmlns="" xmlns:a16="http://schemas.microsoft.com/office/drawing/2014/main" id="{1B1882E2-08CC-4B06-86A8-863EDD8AD68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rot="256425">
              <a:off x="1403037" y="5124884"/>
              <a:ext cx="133891" cy="133891"/>
            </a:xfrm>
            <a:custGeom>
              <a:avLst/>
              <a:gdLst>
                <a:gd name="T0" fmla="*/ 2147483647 w 144"/>
                <a:gd name="T1" fmla="*/ 2147483647 h 144"/>
                <a:gd name="T2" fmla="*/ 2147483647 w 144"/>
                <a:gd name="T3" fmla="*/ 2147483647 h 144"/>
                <a:gd name="T4" fmla="*/ 2147483647 w 144"/>
                <a:gd name="T5" fmla="*/ 2147483647 h 144"/>
                <a:gd name="T6" fmla="*/ 2147483647 w 144"/>
                <a:gd name="T7" fmla="*/ 2147483647 h 144"/>
                <a:gd name="T8" fmla="*/ 2147483647 w 144"/>
                <a:gd name="T9" fmla="*/ 2147483647 h 144"/>
                <a:gd name="T10" fmla="*/ 2147483647 w 144"/>
                <a:gd name="T11" fmla="*/ 2147483647 h 144"/>
                <a:gd name="T12" fmla="*/ 2147483647 w 144"/>
                <a:gd name="T13" fmla="*/ 2147483647 h 144"/>
                <a:gd name="T14" fmla="*/ 2147483647 w 144"/>
                <a:gd name="T15" fmla="*/ 2147483647 h 144"/>
                <a:gd name="T16" fmla="*/ 2147483647 w 144"/>
                <a:gd name="T17" fmla="*/ 0 h 144"/>
                <a:gd name="T18" fmla="*/ 0 w 144"/>
                <a:gd name="T19" fmla="*/ 2147483647 h 144"/>
                <a:gd name="T20" fmla="*/ 2147483647 w 144"/>
                <a:gd name="T21" fmla="*/ 2147483647 h 144"/>
                <a:gd name="T22" fmla="*/ 2147483647 w 144"/>
                <a:gd name="T23" fmla="*/ 2147483647 h 144"/>
                <a:gd name="T24" fmla="*/ 0 w 144"/>
                <a:gd name="T25" fmla="*/ 2147483647 h 144"/>
                <a:gd name="T26" fmla="*/ 2147483647 w 144"/>
                <a:gd name="T27" fmla="*/ 2147483647 h 144"/>
                <a:gd name="T28" fmla="*/ 2147483647 w 144"/>
                <a:gd name="T29" fmla="*/ 2147483647 h 144"/>
                <a:gd name="T30" fmla="*/ 2147483647 w 144"/>
                <a:gd name="T31" fmla="*/ 2147483647 h 144"/>
                <a:gd name="T32" fmla="*/ 2147483647 w 144"/>
                <a:gd name="T33" fmla="*/ 2147483647 h 144"/>
                <a:gd name="T34" fmla="*/ 2147483647 w 144"/>
                <a:gd name="T35" fmla="*/ 2147483647 h 144"/>
                <a:gd name="T36" fmla="*/ 2147483647 w 144"/>
                <a:gd name="T37" fmla="*/ 2147483647 h 144"/>
                <a:gd name="T38" fmla="*/ 2147483647 w 144"/>
                <a:gd name="T39" fmla="*/ 2147483647 h 144"/>
                <a:gd name="T40" fmla="*/ 2147483647 w 144"/>
                <a:gd name="T41" fmla="*/ 2147483647 h 144"/>
                <a:gd name="T42" fmla="*/ 2147483647 w 144"/>
                <a:gd name="T43" fmla="*/ 2147483647 h 144"/>
                <a:gd name="T44" fmla="*/ 2147483647 w 144"/>
                <a:gd name="T45" fmla="*/ 2147483647 h 144"/>
                <a:gd name="T46" fmla="*/ 2147483647 w 144"/>
                <a:gd name="T47" fmla="*/ 2147483647 h 144"/>
                <a:gd name="T48" fmla="*/ 2147483647 w 144"/>
                <a:gd name="T49" fmla="*/ 2147483647 h 144"/>
                <a:gd name="T50" fmla="*/ 2147483647 w 144"/>
                <a:gd name="T51" fmla="*/ 2147483647 h 144"/>
                <a:gd name="T52" fmla="*/ 0 w 144"/>
                <a:gd name="T53" fmla="*/ 2147483647 h 144"/>
                <a:gd name="T54" fmla="*/ 2147483647 w 144"/>
                <a:gd name="T55" fmla="*/ 2147483647 h 144"/>
                <a:gd name="T56" fmla="*/ 2147483647 w 144"/>
                <a:gd name="T57" fmla="*/ 2147483647 h 144"/>
                <a:gd name="T58" fmla="*/ 2147483647 w 144"/>
                <a:gd name="T59" fmla="*/ 2147483647 h 144"/>
                <a:gd name="T60" fmla="*/ 2147483647 w 144"/>
                <a:gd name="T61" fmla="*/ 2147483647 h 14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44" h="144">
                  <a:moveTo>
                    <a:pt x="8" y="16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41" y="16"/>
                    <a:pt x="71" y="29"/>
                    <a:pt x="93" y="51"/>
                  </a:cubicBezTo>
                  <a:cubicBezTo>
                    <a:pt x="115" y="73"/>
                    <a:pt x="128" y="103"/>
                    <a:pt x="128" y="136"/>
                  </a:cubicBezTo>
                  <a:cubicBezTo>
                    <a:pt x="128" y="141"/>
                    <a:pt x="132" y="144"/>
                    <a:pt x="136" y="144"/>
                  </a:cubicBezTo>
                  <a:cubicBezTo>
                    <a:pt x="138" y="144"/>
                    <a:pt x="140" y="144"/>
                    <a:pt x="142" y="142"/>
                  </a:cubicBezTo>
                  <a:cubicBezTo>
                    <a:pt x="143" y="141"/>
                    <a:pt x="144" y="139"/>
                    <a:pt x="144" y="136"/>
                  </a:cubicBezTo>
                  <a:cubicBezTo>
                    <a:pt x="144" y="99"/>
                    <a:pt x="129" y="65"/>
                    <a:pt x="104" y="40"/>
                  </a:cubicBezTo>
                  <a:cubicBezTo>
                    <a:pt x="79" y="15"/>
                    <a:pt x="45" y="0"/>
                    <a:pt x="8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12"/>
                    <a:pt x="3" y="16"/>
                    <a:pt x="8" y="16"/>
                  </a:cubicBezTo>
                  <a:close/>
                  <a:moveTo>
                    <a:pt x="8" y="77"/>
                  </a:moveTo>
                  <a:cubicBezTo>
                    <a:pt x="3" y="77"/>
                    <a:pt x="0" y="80"/>
                    <a:pt x="0" y="85"/>
                  </a:cubicBezTo>
                  <a:cubicBezTo>
                    <a:pt x="0" y="89"/>
                    <a:pt x="3" y="93"/>
                    <a:pt x="8" y="93"/>
                  </a:cubicBezTo>
                  <a:cubicBezTo>
                    <a:pt x="20" y="93"/>
                    <a:pt x="30" y="98"/>
                    <a:pt x="38" y="106"/>
                  </a:cubicBezTo>
                  <a:cubicBezTo>
                    <a:pt x="46" y="114"/>
                    <a:pt x="51" y="124"/>
                    <a:pt x="51" y="136"/>
                  </a:cubicBezTo>
                  <a:cubicBezTo>
                    <a:pt x="51" y="141"/>
                    <a:pt x="55" y="144"/>
                    <a:pt x="59" y="144"/>
                  </a:cubicBezTo>
                  <a:cubicBezTo>
                    <a:pt x="61" y="144"/>
                    <a:pt x="63" y="144"/>
                    <a:pt x="65" y="142"/>
                  </a:cubicBezTo>
                  <a:cubicBezTo>
                    <a:pt x="66" y="141"/>
                    <a:pt x="67" y="139"/>
                    <a:pt x="67" y="136"/>
                  </a:cubicBezTo>
                  <a:cubicBezTo>
                    <a:pt x="67" y="120"/>
                    <a:pt x="60" y="105"/>
                    <a:pt x="50" y="94"/>
                  </a:cubicBezTo>
                  <a:cubicBezTo>
                    <a:pt x="39" y="84"/>
                    <a:pt x="24" y="77"/>
                    <a:pt x="8" y="77"/>
                  </a:cubicBezTo>
                  <a:close/>
                  <a:moveTo>
                    <a:pt x="98" y="144"/>
                  </a:moveTo>
                  <a:cubicBezTo>
                    <a:pt x="100" y="144"/>
                    <a:pt x="102" y="144"/>
                    <a:pt x="103" y="142"/>
                  </a:cubicBezTo>
                  <a:cubicBezTo>
                    <a:pt x="105" y="141"/>
                    <a:pt x="106" y="139"/>
                    <a:pt x="106" y="136"/>
                  </a:cubicBezTo>
                  <a:cubicBezTo>
                    <a:pt x="106" y="109"/>
                    <a:pt x="95" y="85"/>
                    <a:pt x="77" y="67"/>
                  </a:cubicBezTo>
                  <a:cubicBezTo>
                    <a:pt x="59" y="49"/>
                    <a:pt x="35" y="38"/>
                    <a:pt x="8" y="38"/>
                  </a:cubicBezTo>
                  <a:cubicBezTo>
                    <a:pt x="3" y="38"/>
                    <a:pt x="0" y="42"/>
                    <a:pt x="0" y="46"/>
                  </a:cubicBezTo>
                  <a:cubicBezTo>
                    <a:pt x="0" y="51"/>
                    <a:pt x="3" y="54"/>
                    <a:pt x="8" y="54"/>
                  </a:cubicBezTo>
                  <a:cubicBezTo>
                    <a:pt x="30" y="54"/>
                    <a:pt x="51" y="64"/>
                    <a:pt x="66" y="78"/>
                  </a:cubicBezTo>
                  <a:cubicBezTo>
                    <a:pt x="80" y="93"/>
                    <a:pt x="90" y="114"/>
                    <a:pt x="90" y="136"/>
                  </a:cubicBezTo>
                  <a:cubicBezTo>
                    <a:pt x="90" y="141"/>
                    <a:pt x="93" y="144"/>
                    <a:pt x="98" y="144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6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pitchFamily="34" charset="0"/>
              </a:endParaRPr>
            </a:p>
          </p:txBody>
        </p:sp>
      </p:grpSp>
      <p:cxnSp>
        <p:nvCxnSpPr>
          <p:cNvPr id="157" name="Connector: Elbow 156">
            <a:extLst>
              <a:ext uri="{FF2B5EF4-FFF2-40B4-BE49-F238E27FC236}">
                <a16:creationId xmlns="" xmlns:a16="http://schemas.microsoft.com/office/drawing/2014/main" id="{64779228-2D4D-44A0-8B23-6B0B031A9C82}"/>
              </a:ext>
            </a:extLst>
          </p:cNvPr>
          <p:cNvCxnSpPr>
            <a:cxnSpLocks/>
          </p:cNvCxnSpPr>
          <p:nvPr/>
        </p:nvCxnSpPr>
        <p:spPr bwMode="auto">
          <a:xfrm rot="16200000" flipH="1">
            <a:off x="3638574" y="3886845"/>
            <a:ext cx="1320150" cy="131214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rgbClr val="FFFFFF"/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grpSp>
        <p:nvGrpSpPr>
          <p:cNvPr id="158" name="Group 157">
            <a:extLst>
              <a:ext uri="{FF2B5EF4-FFF2-40B4-BE49-F238E27FC236}">
                <a16:creationId xmlns="" xmlns:a16="http://schemas.microsoft.com/office/drawing/2014/main" id="{9498F4EB-2185-4B9A-B152-7C922E1B2FBA}"/>
              </a:ext>
            </a:extLst>
          </p:cNvPr>
          <p:cNvGrpSpPr/>
          <p:nvPr/>
        </p:nvGrpSpPr>
        <p:grpSpPr>
          <a:xfrm>
            <a:off x="6046557" y="4713900"/>
            <a:ext cx="1331615" cy="886708"/>
            <a:chOff x="9893328" y="4920307"/>
            <a:chExt cx="1331615" cy="886708"/>
          </a:xfrm>
        </p:grpSpPr>
        <p:pic>
          <p:nvPicPr>
            <p:cNvPr id="159" name="Picture 55">
              <a:extLst>
                <a:ext uri="{FF2B5EF4-FFF2-40B4-BE49-F238E27FC236}">
                  <a16:creationId xmlns="" xmlns:a16="http://schemas.microsoft.com/office/drawing/2014/main" id="{BA6BD8B1-DA66-4228-A92C-80DE8B50522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9893328" y="5092484"/>
              <a:ext cx="1186280" cy="7145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0" name="Freeform 5">
              <a:extLst>
                <a:ext uri="{FF2B5EF4-FFF2-40B4-BE49-F238E27FC236}">
                  <a16:creationId xmlns="" xmlns:a16="http://schemas.microsoft.com/office/drawing/2014/main" id="{A344D0A7-F4C8-4135-9A2B-EEF902A11BD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1043240" y="4920307"/>
              <a:ext cx="181703" cy="181703"/>
            </a:xfrm>
            <a:custGeom>
              <a:avLst/>
              <a:gdLst>
                <a:gd name="T0" fmla="*/ 2147483646 w 144"/>
                <a:gd name="T1" fmla="*/ 2147483646 h 144"/>
                <a:gd name="T2" fmla="*/ 2147483646 w 144"/>
                <a:gd name="T3" fmla="*/ 2147483646 h 144"/>
                <a:gd name="T4" fmla="*/ 2147483646 w 144"/>
                <a:gd name="T5" fmla="*/ 2147483646 h 144"/>
                <a:gd name="T6" fmla="*/ 2147483646 w 144"/>
                <a:gd name="T7" fmla="*/ 2147483646 h 144"/>
                <a:gd name="T8" fmla="*/ 2147483646 w 144"/>
                <a:gd name="T9" fmla="*/ 2147483646 h 144"/>
                <a:gd name="T10" fmla="*/ 2147483646 w 144"/>
                <a:gd name="T11" fmla="*/ 2147483646 h 144"/>
                <a:gd name="T12" fmla="*/ 2147483646 w 144"/>
                <a:gd name="T13" fmla="*/ 2147483646 h 144"/>
                <a:gd name="T14" fmla="*/ 2147483646 w 144"/>
                <a:gd name="T15" fmla="*/ 2147483646 h 144"/>
                <a:gd name="T16" fmla="*/ 2147483646 w 144"/>
                <a:gd name="T17" fmla="*/ 0 h 144"/>
                <a:gd name="T18" fmla="*/ 0 w 144"/>
                <a:gd name="T19" fmla="*/ 2147483646 h 144"/>
                <a:gd name="T20" fmla="*/ 2147483646 w 144"/>
                <a:gd name="T21" fmla="*/ 2147483646 h 144"/>
                <a:gd name="T22" fmla="*/ 2147483646 w 144"/>
                <a:gd name="T23" fmla="*/ 2147483646 h 144"/>
                <a:gd name="T24" fmla="*/ 0 w 144"/>
                <a:gd name="T25" fmla="*/ 2147483646 h 144"/>
                <a:gd name="T26" fmla="*/ 2147483646 w 144"/>
                <a:gd name="T27" fmla="*/ 2147483646 h 144"/>
                <a:gd name="T28" fmla="*/ 2147483646 w 144"/>
                <a:gd name="T29" fmla="*/ 2147483646 h 144"/>
                <a:gd name="T30" fmla="*/ 2147483646 w 144"/>
                <a:gd name="T31" fmla="*/ 2147483646 h 144"/>
                <a:gd name="T32" fmla="*/ 2147483646 w 144"/>
                <a:gd name="T33" fmla="*/ 2147483646 h 144"/>
                <a:gd name="T34" fmla="*/ 2147483646 w 144"/>
                <a:gd name="T35" fmla="*/ 2147483646 h 144"/>
                <a:gd name="T36" fmla="*/ 2147483646 w 144"/>
                <a:gd name="T37" fmla="*/ 2147483646 h 144"/>
                <a:gd name="T38" fmla="*/ 2147483646 w 144"/>
                <a:gd name="T39" fmla="*/ 2147483646 h 144"/>
                <a:gd name="T40" fmla="*/ 2147483646 w 144"/>
                <a:gd name="T41" fmla="*/ 2147483646 h 144"/>
                <a:gd name="T42" fmla="*/ 2147483646 w 144"/>
                <a:gd name="T43" fmla="*/ 2147483646 h 144"/>
                <a:gd name="T44" fmla="*/ 2147483646 w 144"/>
                <a:gd name="T45" fmla="*/ 2147483646 h 144"/>
                <a:gd name="T46" fmla="*/ 2147483646 w 144"/>
                <a:gd name="T47" fmla="*/ 2147483646 h 144"/>
                <a:gd name="T48" fmla="*/ 2147483646 w 144"/>
                <a:gd name="T49" fmla="*/ 2147483646 h 144"/>
                <a:gd name="T50" fmla="*/ 2147483646 w 144"/>
                <a:gd name="T51" fmla="*/ 2147483646 h 144"/>
                <a:gd name="T52" fmla="*/ 0 w 144"/>
                <a:gd name="T53" fmla="*/ 2147483646 h 144"/>
                <a:gd name="T54" fmla="*/ 2147483646 w 144"/>
                <a:gd name="T55" fmla="*/ 2147483646 h 144"/>
                <a:gd name="T56" fmla="*/ 2147483646 w 144"/>
                <a:gd name="T57" fmla="*/ 2147483646 h 144"/>
                <a:gd name="T58" fmla="*/ 2147483646 w 144"/>
                <a:gd name="T59" fmla="*/ 2147483646 h 144"/>
                <a:gd name="T60" fmla="*/ 2147483646 w 144"/>
                <a:gd name="T61" fmla="*/ 2147483646 h 14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44" h="144">
                  <a:moveTo>
                    <a:pt x="8" y="16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41" y="16"/>
                    <a:pt x="71" y="29"/>
                    <a:pt x="93" y="51"/>
                  </a:cubicBezTo>
                  <a:cubicBezTo>
                    <a:pt x="115" y="73"/>
                    <a:pt x="128" y="103"/>
                    <a:pt x="128" y="136"/>
                  </a:cubicBezTo>
                  <a:cubicBezTo>
                    <a:pt x="128" y="141"/>
                    <a:pt x="132" y="144"/>
                    <a:pt x="136" y="144"/>
                  </a:cubicBezTo>
                  <a:cubicBezTo>
                    <a:pt x="138" y="144"/>
                    <a:pt x="140" y="144"/>
                    <a:pt x="142" y="142"/>
                  </a:cubicBezTo>
                  <a:cubicBezTo>
                    <a:pt x="143" y="141"/>
                    <a:pt x="144" y="139"/>
                    <a:pt x="144" y="136"/>
                  </a:cubicBezTo>
                  <a:cubicBezTo>
                    <a:pt x="144" y="99"/>
                    <a:pt x="129" y="65"/>
                    <a:pt x="104" y="40"/>
                  </a:cubicBezTo>
                  <a:cubicBezTo>
                    <a:pt x="79" y="15"/>
                    <a:pt x="45" y="0"/>
                    <a:pt x="8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12"/>
                    <a:pt x="3" y="16"/>
                    <a:pt x="8" y="16"/>
                  </a:cubicBezTo>
                  <a:close/>
                  <a:moveTo>
                    <a:pt x="8" y="77"/>
                  </a:moveTo>
                  <a:cubicBezTo>
                    <a:pt x="3" y="77"/>
                    <a:pt x="0" y="80"/>
                    <a:pt x="0" y="85"/>
                  </a:cubicBezTo>
                  <a:cubicBezTo>
                    <a:pt x="0" y="89"/>
                    <a:pt x="3" y="93"/>
                    <a:pt x="8" y="93"/>
                  </a:cubicBezTo>
                  <a:cubicBezTo>
                    <a:pt x="20" y="93"/>
                    <a:pt x="30" y="98"/>
                    <a:pt x="38" y="106"/>
                  </a:cubicBezTo>
                  <a:cubicBezTo>
                    <a:pt x="46" y="114"/>
                    <a:pt x="51" y="124"/>
                    <a:pt x="51" y="136"/>
                  </a:cubicBezTo>
                  <a:cubicBezTo>
                    <a:pt x="51" y="141"/>
                    <a:pt x="55" y="144"/>
                    <a:pt x="59" y="144"/>
                  </a:cubicBezTo>
                  <a:cubicBezTo>
                    <a:pt x="61" y="144"/>
                    <a:pt x="63" y="144"/>
                    <a:pt x="65" y="142"/>
                  </a:cubicBezTo>
                  <a:cubicBezTo>
                    <a:pt x="66" y="141"/>
                    <a:pt x="67" y="139"/>
                    <a:pt x="67" y="136"/>
                  </a:cubicBezTo>
                  <a:cubicBezTo>
                    <a:pt x="67" y="120"/>
                    <a:pt x="60" y="105"/>
                    <a:pt x="50" y="94"/>
                  </a:cubicBezTo>
                  <a:cubicBezTo>
                    <a:pt x="39" y="84"/>
                    <a:pt x="24" y="77"/>
                    <a:pt x="8" y="77"/>
                  </a:cubicBezTo>
                  <a:close/>
                  <a:moveTo>
                    <a:pt x="98" y="144"/>
                  </a:moveTo>
                  <a:cubicBezTo>
                    <a:pt x="100" y="144"/>
                    <a:pt x="102" y="144"/>
                    <a:pt x="103" y="142"/>
                  </a:cubicBezTo>
                  <a:cubicBezTo>
                    <a:pt x="105" y="141"/>
                    <a:pt x="106" y="139"/>
                    <a:pt x="106" y="136"/>
                  </a:cubicBezTo>
                  <a:cubicBezTo>
                    <a:pt x="106" y="109"/>
                    <a:pt x="95" y="85"/>
                    <a:pt x="77" y="67"/>
                  </a:cubicBezTo>
                  <a:cubicBezTo>
                    <a:pt x="59" y="49"/>
                    <a:pt x="35" y="38"/>
                    <a:pt x="8" y="38"/>
                  </a:cubicBezTo>
                  <a:cubicBezTo>
                    <a:pt x="3" y="38"/>
                    <a:pt x="0" y="42"/>
                    <a:pt x="0" y="46"/>
                  </a:cubicBezTo>
                  <a:cubicBezTo>
                    <a:pt x="0" y="51"/>
                    <a:pt x="3" y="54"/>
                    <a:pt x="8" y="54"/>
                  </a:cubicBezTo>
                  <a:cubicBezTo>
                    <a:pt x="30" y="54"/>
                    <a:pt x="51" y="64"/>
                    <a:pt x="66" y="78"/>
                  </a:cubicBezTo>
                  <a:cubicBezTo>
                    <a:pt x="80" y="93"/>
                    <a:pt x="90" y="114"/>
                    <a:pt x="90" y="136"/>
                  </a:cubicBezTo>
                  <a:cubicBezTo>
                    <a:pt x="90" y="141"/>
                    <a:pt x="93" y="144"/>
                    <a:pt x="98" y="14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161" name="Freeform 3">
            <a:extLst>
              <a:ext uri="{FF2B5EF4-FFF2-40B4-BE49-F238E27FC236}">
                <a16:creationId xmlns="" xmlns:a16="http://schemas.microsoft.com/office/drawing/2014/main" id="{F2C3A5FB-FD46-4721-BC09-1D0322CEC093}"/>
              </a:ext>
            </a:extLst>
          </p:cNvPr>
          <p:cNvSpPr>
            <a:spLocks noChangeAspect="1"/>
          </p:cNvSpPr>
          <p:nvPr/>
        </p:nvSpPr>
        <p:spPr bwMode="auto">
          <a:xfrm>
            <a:off x="6457109" y="3661145"/>
            <a:ext cx="813195" cy="515794"/>
          </a:xfrm>
          <a:custGeom>
            <a:avLst/>
            <a:gdLst>
              <a:gd name="T0" fmla="*/ 2147483646 w 462"/>
              <a:gd name="T1" fmla="*/ 2147483646 h 293"/>
              <a:gd name="T2" fmla="*/ 2147483646 w 462"/>
              <a:gd name="T3" fmla="*/ 2147483646 h 293"/>
              <a:gd name="T4" fmla="*/ 2147483646 w 462"/>
              <a:gd name="T5" fmla="*/ 2147483646 h 293"/>
              <a:gd name="T6" fmla="*/ 2147483646 w 462"/>
              <a:gd name="T7" fmla="*/ 2147483646 h 293"/>
              <a:gd name="T8" fmla="*/ 2147483646 w 462"/>
              <a:gd name="T9" fmla="*/ 2147483646 h 293"/>
              <a:gd name="T10" fmla="*/ 2147483646 w 462"/>
              <a:gd name="T11" fmla="*/ 2147483646 h 293"/>
              <a:gd name="T12" fmla="*/ 2147483646 w 462"/>
              <a:gd name="T13" fmla="*/ 2147483646 h 293"/>
              <a:gd name="T14" fmla="*/ 2147483646 w 462"/>
              <a:gd name="T15" fmla="*/ 2147483646 h 293"/>
              <a:gd name="T16" fmla="*/ 2147483646 w 462"/>
              <a:gd name="T17" fmla="*/ 2147483646 h 293"/>
              <a:gd name="T18" fmla="*/ 2147483646 w 462"/>
              <a:gd name="T19" fmla="*/ 2147483646 h 293"/>
              <a:gd name="T20" fmla="*/ 2147483646 w 462"/>
              <a:gd name="T21" fmla="*/ 2147483646 h 293"/>
              <a:gd name="T22" fmla="*/ 2147483646 w 462"/>
              <a:gd name="T23" fmla="*/ 2147483646 h 293"/>
              <a:gd name="T24" fmla="*/ 2147483646 w 462"/>
              <a:gd name="T25" fmla="*/ 2147483646 h 293"/>
              <a:gd name="T26" fmla="*/ 2147483646 w 462"/>
              <a:gd name="T27" fmla="*/ 2147483646 h 293"/>
              <a:gd name="T28" fmla="*/ 2147483646 w 462"/>
              <a:gd name="T29" fmla="*/ 2147483646 h 293"/>
              <a:gd name="T30" fmla="*/ 2147483646 w 462"/>
              <a:gd name="T31" fmla="*/ 2147483646 h 293"/>
              <a:gd name="T32" fmla="*/ 2147483646 w 462"/>
              <a:gd name="T33" fmla="*/ 2147483646 h 293"/>
              <a:gd name="T34" fmla="*/ 2147483646 w 462"/>
              <a:gd name="T35" fmla="*/ 2147483646 h 293"/>
              <a:gd name="T36" fmla="*/ 2147483646 w 462"/>
              <a:gd name="T37" fmla="*/ 2147483646 h 293"/>
              <a:gd name="T38" fmla="*/ 2147483646 w 462"/>
              <a:gd name="T39" fmla="*/ 2147483646 h 293"/>
              <a:gd name="T40" fmla="*/ 2147483646 w 462"/>
              <a:gd name="T41" fmla="*/ 2147483646 h 293"/>
              <a:gd name="T42" fmla="*/ 2147483646 w 462"/>
              <a:gd name="T43" fmla="*/ 2147483646 h 293"/>
              <a:gd name="T44" fmla="*/ 2147483646 w 462"/>
              <a:gd name="T45" fmla="*/ 2147483646 h 293"/>
              <a:gd name="T46" fmla="*/ 2147483646 w 462"/>
              <a:gd name="T47" fmla="*/ 2147483646 h 293"/>
              <a:gd name="T48" fmla="*/ 2147483646 w 462"/>
              <a:gd name="T49" fmla="*/ 2147483646 h 293"/>
              <a:gd name="T50" fmla="*/ 2147483646 w 462"/>
              <a:gd name="T51" fmla="*/ 2147483646 h 293"/>
              <a:gd name="T52" fmla="*/ 2147483646 w 462"/>
              <a:gd name="T53" fmla="*/ 0 h 293"/>
              <a:gd name="T54" fmla="*/ 2147483646 w 462"/>
              <a:gd name="T55" fmla="*/ 2147483646 h 293"/>
              <a:gd name="T56" fmla="*/ 0 w 462"/>
              <a:gd name="T57" fmla="*/ 2147483646 h 293"/>
              <a:gd name="T58" fmla="*/ 2147483646 w 462"/>
              <a:gd name="T59" fmla="*/ 2147483646 h 293"/>
              <a:gd name="T60" fmla="*/ 2147483646 w 462"/>
              <a:gd name="T61" fmla="*/ 2147483646 h 293"/>
              <a:gd name="T62" fmla="*/ 2147483646 w 462"/>
              <a:gd name="T63" fmla="*/ 2147483646 h 293"/>
              <a:gd name="T64" fmla="*/ 2147483646 w 462"/>
              <a:gd name="T65" fmla="*/ 2147483646 h 293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462" h="293">
                <a:moveTo>
                  <a:pt x="435" y="148"/>
                </a:moveTo>
                <a:cubicBezTo>
                  <a:pt x="437" y="140"/>
                  <a:pt x="439" y="132"/>
                  <a:pt x="439" y="123"/>
                </a:cubicBezTo>
                <a:cubicBezTo>
                  <a:pt x="439" y="104"/>
                  <a:pt x="433" y="86"/>
                  <a:pt x="422" y="70"/>
                </a:cubicBezTo>
                <a:cubicBezTo>
                  <a:pt x="420" y="67"/>
                  <a:pt x="415" y="66"/>
                  <a:pt x="411" y="68"/>
                </a:cubicBezTo>
                <a:cubicBezTo>
                  <a:pt x="407" y="71"/>
                  <a:pt x="406" y="76"/>
                  <a:pt x="409" y="79"/>
                </a:cubicBezTo>
                <a:cubicBezTo>
                  <a:pt x="418" y="92"/>
                  <a:pt x="423" y="108"/>
                  <a:pt x="423" y="123"/>
                </a:cubicBezTo>
                <a:cubicBezTo>
                  <a:pt x="423" y="132"/>
                  <a:pt x="421" y="140"/>
                  <a:pt x="419" y="148"/>
                </a:cubicBezTo>
                <a:cubicBezTo>
                  <a:pt x="418" y="151"/>
                  <a:pt x="419" y="154"/>
                  <a:pt x="421" y="156"/>
                </a:cubicBezTo>
                <a:cubicBezTo>
                  <a:pt x="437" y="170"/>
                  <a:pt x="446" y="189"/>
                  <a:pt x="446" y="209"/>
                </a:cubicBezTo>
                <a:cubicBezTo>
                  <a:pt x="446" y="247"/>
                  <a:pt x="415" y="277"/>
                  <a:pt x="378" y="277"/>
                </a:cubicBezTo>
                <a:cubicBezTo>
                  <a:pt x="88" y="277"/>
                  <a:pt x="88" y="277"/>
                  <a:pt x="88" y="277"/>
                </a:cubicBezTo>
                <a:cubicBezTo>
                  <a:pt x="48" y="277"/>
                  <a:pt x="16" y="245"/>
                  <a:pt x="16" y="206"/>
                </a:cubicBezTo>
                <a:cubicBezTo>
                  <a:pt x="16" y="178"/>
                  <a:pt x="31" y="154"/>
                  <a:pt x="56" y="141"/>
                </a:cubicBezTo>
                <a:cubicBezTo>
                  <a:pt x="59" y="140"/>
                  <a:pt x="60" y="137"/>
                  <a:pt x="60" y="134"/>
                </a:cubicBezTo>
                <a:cubicBezTo>
                  <a:pt x="60" y="134"/>
                  <a:pt x="60" y="133"/>
                  <a:pt x="60" y="133"/>
                </a:cubicBezTo>
                <a:cubicBezTo>
                  <a:pt x="60" y="69"/>
                  <a:pt x="113" y="16"/>
                  <a:pt x="178" y="16"/>
                </a:cubicBezTo>
                <a:cubicBezTo>
                  <a:pt x="217" y="16"/>
                  <a:pt x="254" y="36"/>
                  <a:pt x="276" y="68"/>
                </a:cubicBezTo>
                <a:cubicBezTo>
                  <a:pt x="277" y="70"/>
                  <a:pt x="279" y="72"/>
                  <a:pt x="282" y="72"/>
                </a:cubicBezTo>
                <a:cubicBezTo>
                  <a:pt x="284" y="72"/>
                  <a:pt x="287" y="71"/>
                  <a:pt x="288" y="70"/>
                </a:cubicBezTo>
                <a:cubicBezTo>
                  <a:pt x="288" y="70"/>
                  <a:pt x="289" y="69"/>
                  <a:pt x="289" y="69"/>
                </a:cubicBezTo>
                <a:cubicBezTo>
                  <a:pt x="290" y="68"/>
                  <a:pt x="309" y="45"/>
                  <a:pt x="344" y="45"/>
                </a:cubicBezTo>
                <a:cubicBezTo>
                  <a:pt x="360" y="45"/>
                  <a:pt x="375" y="50"/>
                  <a:pt x="388" y="59"/>
                </a:cubicBezTo>
                <a:cubicBezTo>
                  <a:pt x="392" y="61"/>
                  <a:pt x="397" y="60"/>
                  <a:pt x="399" y="56"/>
                </a:cubicBezTo>
                <a:cubicBezTo>
                  <a:pt x="402" y="53"/>
                  <a:pt x="401" y="48"/>
                  <a:pt x="397" y="45"/>
                </a:cubicBezTo>
                <a:cubicBezTo>
                  <a:pt x="381" y="35"/>
                  <a:pt x="363" y="29"/>
                  <a:pt x="344" y="29"/>
                </a:cubicBezTo>
                <a:cubicBezTo>
                  <a:pt x="314" y="29"/>
                  <a:pt x="294" y="43"/>
                  <a:pt x="284" y="52"/>
                </a:cubicBezTo>
                <a:cubicBezTo>
                  <a:pt x="258" y="19"/>
                  <a:pt x="220" y="0"/>
                  <a:pt x="178" y="0"/>
                </a:cubicBezTo>
                <a:cubicBezTo>
                  <a:pt x="106" y="0"/>
                  <a:pt x="47" y="58"/>
                  <a:pt x="44" y="129"/>
                </a:cubicBezTo>
                <a:cubicBezTo>
                  <a:pt x="17" y="145"/>
                  <a:pt x="0" y="174"/>
                  <a:pt x="0" y="206"/>
                </a:cubicBezTo>
                <a:cubicBezTo>
                  <a:pt x="0" y="254"/>
                  <a:pt x="39" y="293"/>
                  <a:pt x="88" y="293"/>
                </a:cubicBezTo>
                <a:cubicBezTo>
                  <a:pt x="378" y="293"/>
                  <a:pt x="378" y="293"/>
                  <a:pt x="378" y="293"/>
                </a:cubicBezTo>
                <a:cubicBezTo>
                  <a:pt x="424" y="293"/>
                  <a:pt x="462" y="256"/>
                  <a:pt x="462" y="209"/>
                </a:cubicBezTo>
                <a:cubicBezTo>
                  <a:pt x="462" y="186"/>
                  <a:pt x="452" y="164"/>
                  <a:pt x="435" y="14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162" name="Straight Arrow Connector 161">
            <a:extLst>
              <a:ext uri="{FF2B5EF4-FFF2-40B4-BE49-F238E27FC236}">
                <a16:creationId xmlns="" xmlns:a16="http://schemas.microsoft.com/office/drawing/2014/main" id="{237801F9-27F0-4B69-A137-E3FE669C6824}"/>
              </a:ext>
            </a:extLst>
          </p:cNvPr>
          <p:cNvCxnSpPr>
            <a:cxnSpLocks/>
          </p:cNvCxnSpPr>
          <p:nvPr/>
        </p:nvCxnSpPr>
        <p:spPr bwMode="auto">
          <a:xfrm>
            <a:off x="6835316" y="4215474"/>
            <a:ext cx="0" cy="640080"/>
          </a:xfrm>
          <a:prstGeom prst="straightConnector1">
            <a:avLst/>
          </a:prstGeom>
          <a:solidFill>
            <a:schemeClr val="accent1"/>
          </a:solidFill>
          <a:ln w="12700" cap="rnd" cmpd="sng" algn="ctr">
            <a:solidFill>
              <a:srgbClr val="FFFFFF"/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63" name="Freeform 3">
            <a:extLst>
              <a:ext uri="{FF2B5EF4-FFF2-40B4-BE49-F238E27FC236}">
                <a16:creationId xmlns="" xmlns:a16="http://schemas.microsoft.com/office/drawing/2014/main" id="{811A0C08-5F39-41EC-B1F9-0E794E2F45FA}"/>
              </a:ext>
            </a:extLst>
          </p:cNvPr>
          <p:cNvSpPr>
            <a:spLocks noChangeAspect="1"/>
          </p:cNvSpPr>
          <p:nvPr/>
        </p:nvSpPr>
        <p:spPr bwMode="auto">
          <a:xfrm>
            <a:off x="7950980" y="3661145"/>
            <a:ext cx="813195" cy="515794"/>
          </a:xfrm>
          <a:custGeom>
            <a:avLst/>
            <a:gdLst>
              <a:gd name="T0" fmla="*/ 2147483646 w 462"/>
              <a:gd name="T1" fmla="*/ 2147483646 h 293"/>
              <a:gd name="T2" fmla="*/ 2147483646 w 462"/>
              <a:gd name="T3" fmla="*/ 2147483646 h 293"/>
              <a:gd name="T4" fmla="*/ 2147483646 w 462"/>
              <a:gd name="T5" fmla="*/ 2147483646 h 293"/>
              <a:gd name="T6" fmla="*/ 2147483646 w 462"/>
              <a:gd name="T7" fmla="*/ 2147483646 h 293"/>
              <a:gd name="T8" fmla="*/ 2147483646 w 462"/>
              <a:gd name="T9" fmla="*/ 2147483646 h 293"/>
              <a:gd name="T10" fmla="*/ 2147483646 w 462"/>
              <a:gd name="T11" fmla="*/ 2147483646 h 293"/>
              <a:gd name="T12" fmla="*/ 2147483646 w 462"/>
              <a:gd name="T13" fmla="*/ 2147483646 h 293"/>
              <a:gd name="T14" fmla="*/ 2147483646 w 462"/>
              <a:gd name="T15" fmla="*/ 2147483646 h 293"/>
              <a:gd name="T16" fmla="*/ 2147483646 w 462"/>
              <a:gd name="T17" fmla="*/ 2147483646 h 293"/>
              <a:gd name="T18" fmla="*/ 2147483646 w 462"/>
              <a:gd name="T19" fmla="*/ 2147483646 h 293"/>
              <a:gd name="T20" fmla="*/ 2147483646 w 462"/>
              <a:gd name="T21" fmla="*/ 2147483646 h 293"/>
              <a:gd name="T22" fmla="*/ 2147483646 w 462"/>
              <a:gd name="T23" fmla="*/ 2147483646 h 293"/>
              <a:gd name="T24" fmla="*/ 2147483646 w 462"/>
              <a:gd name="T25" fmla="*/ 2147483646 h 293"/>
              <a:gd name="T26" fmla="*/ 2147483646 w 462"/>
              <a:gd name="T27" fmla="*/ 2147483646 h 293"/>
              <a:gd name="T28" fmla="*/ 2147483646 w 462"/>
              <a:gd name="T29" fmla="*/ 2147483646 h 293"/>
              <a:gd name="T30" fmla="*/ 2147483646 w 462"/>
              <a:gd name="T31" fmla="*/ 2147483646 h 293"/>
              <a:gd name="T32" fmla="*/ 2147483646 w 462"/>
              <a:gd name="T33" fmla="*/ 2147483646 h 293"/>
              <a:gd name="T34" fmla="*/ 2147483646 w 462"/>
              <a:gd name="T35" fmla="*/ 2147483646 h 293"/>
              <a:gd name="T36" fmla="*/ 2147483646 w 462"/>
              <a:gd name="T37" fmla="*/ 2147483646 h 293"/>
              <a:gd name="T38" fmla="*/ 2147483646 w 462"/>
              <a:gd name="T39" fmla="*/ 2147483646 h 293"/>
              <a:gd name="T40" fmla="*/ 2147483646 w 462"/>
              <a:gd name="T41" fmla="*/ 2147483646 h 293"/>
              <a:gd name="T42" fmla="*/ 2147483646 w 462"/>
              <a:gd name="T43" fmla="*/ 2147483646 h 293"/>
              <a:gd name="T44" fmla="*/ 2147483646 w 462"/>
              <a:gd name="T45" fmla="*/ 2147483646 h 293"/>
              <a:gd name="T46" fmla="*/ 2147483646 w 462"/>
              <a:gd name="T47" fmla="*/ 2147483646 h 293"/>
              <a:gd name="T48" fmla="*/ 2147483646 w 462"/>
              <a:gd name="T49" fmla="*/ 2147483646 h 293"/>
              <a:gd name="T50" fmla="*/ 2147483646 w 462"/>
              <a:gd name="T51" fmla="*/ 2147483646 h 293"/>
              <a:gd name="T52" fmla="*/ 2147483646 w 462"/>
              <a:gd name="T53" fmla="*/ 0 h 293"/>
              <a:gd name="T54" fmla="*/ 2147483646 w 462"/>
              <a:gd name="T55" fmla="*/ 2147483646 h 293"/>
              <a:gd name="T56" fmla="*/ 0 w 462"/>
              <a:gd name="T57" fmla="*/ 2147483646 h 293"/>
              <a:gd name="T58" fmla="*/ 2147483646 w 462"/>
              <a:gd name="T59" fmla="*/ 2147483646 h 293"/>
              <a:gd name="T60" fmla="*/ 2147483646 w 462"/>
              <a:gd name="T61" fmla="*/ 2147483646 h 293"/>
              <a:gd name="T62" fmla="*/ 2147483646 w 462"/>
              <a:gd name="T63" fmla="*/ 2147483646 h 293"/>
              <a:gd name="T64" fmla="*/ 2147483646 w 462"/>
              <a:gd name="T65" fmla="*/ 2147483646 h 293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462" h="293">
                <a:moveTo>
                  <a:pt x="435" y="148"/>
                </a:moveTo>
                <a:cubicBezTo>
                  <a:pt x="437" y="140"/>
                  <a:pt x="439" y="132"/>
                  <a:pt x="439" y="123"/>
                </a:cubicBezTo>
                <a:cubicBezTo>
                  <a:pt x="439" y="104"/>
                  <a:pt x="433" y="86"/>
                  <a:pt x="422" y="70"/>
                </a:cubicBezTo>
                <a:cubicBezTo>
                  <a:pt x="420" y="67"/>
                  <a:pt x="415" y="66"/>
                  <a:pt x="411" y="68"/>
                </a:cubicBezTo>
                <a:cubicBezTo>
                  <a:pt x="407" y="71"/>
                  <a:pt x="406" y="76"/>
                  <a:pt x="409" y="79"/>
                </a:cubicBezTo>
                <a:cubicBezTo>
                  <a:pt x="418" y="92"/>
                  <a:pt x="423" y="108"/>
                  <a:pt x="423" y="123"/>
                </a:cubicBezTo>
                <a:cubicBezTo>
                  <a:pt x="423" y="132"/>
                  <a:pt x="421" y="140"/>
                  <a:pt x="419" y="148"/>
                </a:cubicBezTo>
                <a:cubicBezTo>
                  <a:pt x="418" y="151"/>
                  <a:pt x="419" y="154"/>
                  <a:pt x="421" y="156"/>
                </a:cubicBezTo>
                <a:cubicBezTo>
                  <a:pt x="437" y="170"/>
                  <a:pt x="446" y="189"/>
                  <a:pt x="446" y="209"/>
                </a:cubicBezTo>
                <a:cubicBezTo>
                  <a:pt x="446" y="247"/>
                  <a:pt x="415" y="277"/>
                  <a:pt x="378" y="277"/>
                </a:cubicBezTo>
                <a:cubicBezTo>
                  <a:pt x="88" y="277"/>
                  <a:pt x="88" y="277"/>
                  <a:pt x="88" y="277"/>
                </a:cubicBezTo>
                <a:cubicBezTo>
                  <a:pt x="48" y="277"/>
                  <a:pt x="16" y="245"/>
                  <a:pt x="16" y="206"/>
                </a:cubicBezTo>
                <a:cubicBezTo>
                  <a:pt x="16" y="178"/>
                  <a:pt x="31" y="154"/>
                  <a:pt x="56" y="141"/>
                </a:cubicBezTo>
                <a:cubicBezTo>
                  <a:pt x="59" y="140"/>
                  <a:pt x="60" y="137"/>
                  <a:pt x="60" y="134"/>
                </a:cubicBezTo>
                <a:cubicBezTo>
                  <a:pt x="60" y="134"/>
                  <a:pt x="60" y="133"/>
                  <a:pt x="60" y="133"/>
                </a:cubicBezTo>
                <a:cubicBezTo>
                  <a:pt x="60" y="69"/>
                  <a:pt x="113" y="16"/>
                  <a:pt x="178" y="16"/>
                </a:cubicBezTo>
                <a:cubicBezTo>
                  <a:pt x="217" y="16"/>
                  <a:pt x="254" y="36"/>
                  <a:pt x="276" y="68"/>
                </a:cubicBezTo>
                <a:cubicBezTo>
                  <a:pt x="277" y="70"/>
                  <a:pt x="279" y="72"/>
                  <a:pt x="282" y="72"/>
                </a:cubicBezTo>
                <a:cubicBezTo>
                  <a:pt x="284" y="72"/>
                  <a:pt x="287" y="71"/>
                  <a:pt x="288" y="70"/>
                </a:cubicBezTo>
                <a:cubicBezTo>
                  <a:pt x="288" y="70"/>
                  <a:pt x="289" y="69"/>
                  <a:pt x="289" y="69"/>
                </a:cubicBezTo>
                <a:cubicBezTo>
                  <a:pt x="290" y="68"/>
                  <a:pt x="309" y="45"/>
                  <a:pt x="344" y="45"/>
                </a:cubicBezTo>
                <a:cubicBezTo>
                  <a:pt x="360" y="45"/>
                  <a:pt x="375" y="50"/>
                  <a:pt x="388" y="59"/>
                </a:cubicBezTo>
                <a:cubicBezTo>
                  <a:pt x="392" y="61"/>
                  <a:pt x="397" y="60"/>
                  <a:pt x="399" y="56"/>
                </a:cubicBezTo>
                <a:cubicBezTo>
                  <a:pt x="402" y="53"/>
                  <a:pt x="401" y="48"/>
                  <a:pt x="397" y="45"/>
                </a:cubicBezTo>
                <a:cubicBezTo>
                  <a:pt x="381" y="35"/>
                  <a:pt x="363" y="29"/>
                  <a:pt x="344" y="29"/>
                </a:cubicBezTo>
                <a:cubicBezTo>
                  <a:pt x="314" y="29"/>
                  <a:pt x="294" y="43"/>
                  <a:pt x="284" y="52"/>
                </a:cubicBezTo>
                <a:cubicBezTo>
                  <a:pt x="258" y="19"/>
                  <a:pt x="220" y="0"/>
                  <a:pt x="178" y="0"/>
                </a:cubicBezTo>
                <a:cubicBezTo>
                  <a:pt x="106" y="0"/>
                  <a:pt x="47" y="58"/>
                  <a:pt x="44" y="129"/>
                </a:cubicBezTo>
                <a:cubicBezTo>
                  <a:pt x="17" y="145"/>
                  <a:pt x="0" y="174"/>
                  <a:pt x="0" y="206"/>
                </a:cubicBezTo>
                <a:cubicBezTo>
                  <a:pt x="0" y="254"/>
                  <a:pt x="39" y="293"/>
                  <a:pt x="88" y="293"/>
                </a:cubicBezTo>
                <a:cubicBezTo>
                  <a:pt x="378" y="293"/>
                  <a:pt x="378" y="293"/>
                  <a:pt x="378" y="293"/>
                </a:cubicBezTo>
                <a:cubicBezTo>
                  <a:pt x="424" y="293"/>
                  <a:pt x="462" y="256"/>
                  <a:pt x="462" y="209"/>
                </a:cubicBezTo>
                <a:cubicBezTo>
                  <a:pt x="462" y="186"/>
                  <a:pt x="452" y="164"/>
                  <a:pt x="435" y="14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64" name="Freeform 6">
            <a:extLst>
              <a:ext uri="{FF2B5EF4-FFF2-40B4-BE49-F238E27FC236}">
                <a16:creationId xmlns="" xmlns:a16="http://schemas.microsoft.com/office/drawing/2014/main" id="{B24FC104-1E8F-498A-8AA4-AE95EEDCD9F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439400" y="4572000"/>
            <a:ext cx="230721" cy="366940"/>
          </a:xfrm>
          <a:custGeom>
            <a:avLst/>
            <a:gdLst>
              <a:gd name="T0" fmla="*/ 2147483647 w 241"/>
              <a:gd name="T1" fmla="*/ 2147483647 h 383"/>
              <a:gd name="T2" fmla="*/ 2147483647 w 241"/>
              <a:gd name="T3" fmla="*/ 2147483647 h 383"/>
              <a:gd name="T4" fmla="*/ 2147483647 w 241"/>
              <a:gd name="T5" fmla="*/ 2147483647 h 383"/>
              <a:gd name="T6" fmla="*/ 2147483647 w 241"/>
              <a:gd name="T7" fmla="*/ 2147483647 h 383"/>
              <a:gd name="T8" fmla="*/ 2147483647 w 241"/>
              <a:gd name="T9" fmla="*/ 2147483647 h 383"/>
              <a:gd name="T10" fmla="*/ 2147483647 w 241"/>
              <a:gd name="T11" fmla="*/ 2147483647 h 383"/>
              <a:gd name="T12" fmla="*/ 2147483647 w 241"/>
              <a:gd name="T13" fmla="*/ 2147483647 h 383"/>
              <a:gd name="T14" fmla="*/ 2147483647 w 241"/>
              <a:gd name="T15" fmla="*/ 2147483647 h 383"/>
              <a:gd name="T16" fmla="*/ 2147483647 w 241"/>
              <a:gd name="T17" fmla="*/ 0 h 383"/>
              <a:gd name="T18" fmla="*/ 2147483647 w 241"/>
              <a:gd name="T19" fmla="*/ 0 h 383"/>
              <a:gd name="T20" fmla="*/ 0 w 241"/>
              <a:gd name="T21" fmla="*/ 2147483647 h 383"/>
              <a:gd name="T22" fmla="*/ 0 w 241"/>
              <a:gd name="T23" fmla="*/ 2147483647 h 383"/>
              <a:gd name="T24" fmla="*/ 2147483647 w 241"/>
              <a:gd name="T25" fmla="*/ 2147483647 h 383"/>
              <a:gd name="T26" fmla="*/ 2147483647 w 241"/>
              <a:gd name="T27" fmla="*/ 2147483647 h 383"/>
              <a:gd name="T28" fmla="*/ 2147483647 w 241"/>
              <a:gd name="T29" fmla="*/ 2147483647 h 383"/>
              <a:gd name="T30" fmla="*/ 2147483647 w 241"/>
              <a:gd name="T31" fmla="*/ 2147483647 h 383"/>
              <a:gd name="T32" fmla="*/ 2147483647 w 241"/>
              <a:gd name="T33" fmla="*/ 2147483647 h 383"/>
              <a:gd name="T34" fmla="*/ 2147483647 w 241"/>
              <a:gd name="T35" fmla="*/ 2147483647 h 383"/>
              <a:gd name="T36" fmla="*/ 2147483647 w 241"/>
              <a:gd name="T37" fmla="*/ 2147483647 h 383"/>
              <a:gd name="T38" fmla="*/ 2147483647 w 241"/>
              <a:gd name="T39" fmla="*/ 2147483647 h 383"/>
              <a:gd name="T40" fmla="*/ 2147483647 w 241"/>
              <a:gd name="T41" fmla="*/ 2147483647 h 383"/>
              <a:gd name="T42" fmla="*/ 2147483647 w 241"/>
              <a:gd name="T43" fmla="*/ 2147483647 h 383"/>
              <a:gd name="T44" fmla="*/ 2147483647 w 241"/>
              <a:gd name="T45" fmla="*/ 2147483647 h 383"/>
              <a:gd name="T46" fmla="*/ 2147483647 w 241"/>
              <a:gd name="T47" fmla="*/ 2147483647 h 383"/>
              <a:gd name="T48" fmla="*/ 2147483647 w 241"/>
              <a:gd name="T49" fmla="*/ 2147483647 h 383"/>
              <a:gd name="T50" fmla="*/ 2147483647 w 241"/>
              <a:gd name="T51" fmla="*/ 2147483647 h 383"/>
              <a:gd name="T52" fmla="*/ 2147483647 w 241"/>
              <a:gd name="T53" fmla="*/ 2147483647 h 383"/>
              <a:gd name="T54" fmla="*/ 2147483647 w 241"/>
              <a:gd name="T55" fmla="*/ 2147483647 h 383"/>
              <a:gd name="T56" fmla="*/ 2147483647 w 241"/>
              <a:gd name="T57" fmla="*/ 2147483647 h 383"/>
              <a:gd name="T58" fmla="*/ 2147483647 w 241"/>
              <a:gd name="T59" fmla="*/ 2147483647 h 383"/>
              <a:gd name="T60" fmla="*/ 2147483647 w 241"/>
              <a:gd name="T61" fmla="*/ 2147483647 h 383"/>
              <a:gd name="T62" fmla="*/ 2147483647 w 241"/>
              <a:gd name="T63" fmla="*/ 2147483647 h 383"/>
              <a:gd name="T64" fmla="*/ 2147483647 w 241"/>
              <a:gd name="T65" fmla="*/ 2147483647 h 383"/>
              <a:gd name="T66" fmla="*/ 2147483647 w 241"/>
              <a:gd name="T67" fmla="*/ 2147483647 h 383"/>
              <a:gd name="T68" fmla="*/ 2147483647 w 241"/>
              <a:gd name="T69" fmla="*/ 2147483647 h 383"/>
              <a:gd name="T70" fmla="*/ 2147483647 w 241"/>
              <a:gd name="T71" fmla="*/ 2147483647 h 383"/>
              <a:gd name="T72" fmla="*/ 2147483647 w 241"/>
              <a:gd name="T73" fmla="*/ 2147483647 h 383"/>
              <a:gd name="T74" fmla="*/ 2147483647 w 241"/>
              <a:gd name="T75" fmla="*/ 2147483647 h 383"/>
              <a:gd name="T76" fmla="*/ 2147483647 w 241"/>
              <a:gd name="T77" fmla="*/ 2147483647 h 383"/>
              <a:gd name="T78" fmla="*/ 2147483647 w 241"/>
              <a:gd name="T79" fmla="*/ 2147483647 h 383"/>
              <a:gd name="T80" fmla="*/ 2147483647 w 241"/>
              <a:gd name="T81" fmla="*/ 2147483647 h 383"/>
              <a:gd name="T82" fmla="*/ 2147483647 w 241"/>
              <a:gd name="T83" fmla="*/ 2147483647 h 383"/>
              <a:gd name="T84" fmla="*/ 2147483647 w 241"/>
              <a:gd name="T85" fmla="*/ 2147483647 h 383"/>
              <a:gd name="T86" fmla="*/ 2147483647 w 241"/>
              <a:gd name="T87" fmla="*/ 2147483647 h 383"/>
              <a:gd name="T88" fmla="*/ 2147483647 w 241"/>
              <a:gd name="T89" fmla="*/ 2147483647 h 38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241"/>
              <a:gd name="T136" fmla="*/ 0 h 383"/>
              <a:gd name="T137" fmla="*/ 241 w 241"/>
              <a:gd name="T138" fmla="*/ 383 h 383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241" h="383">
                <a:moveTo>
                  <a:pt x="117" y="356"/>
                </a:moveTo>
                <a:cubicBezTo>
                  <a:pt x="127" y="356"/>
                  <a:pt x="135" y="348"/>
                  <a:pt x="135" y="338"/>
                </a:cubicBezTo>
                <a:cubicBezTo>
                  <a:pt x="135" y="329"/>
                  <a:pt x="127" y="321"/>
                  <a:pt x="117" y="321"/>
                </a:cubicBezTo>
                <a:cubicBezTo>
                  <a:pt x="107" y="321"/>
                  <a:pt x="99" y="329"/>
                  <a:pt x="99" y="338"/>
                </a:cubicBezTo>
                <a:cubicBezTo>
                  <a:pt x="99" y="348"/>
                  <a:pt x="107" y="356"/>
                  <a:pt x="117" y="356"/>
                </a:cubicBezTo>
                <a:close/>
                <a:moveTo>
                  <a:pt x="233" y="90"/>
                </a:moveTo>
                <a:cubicBezTo>
                  <a:pt x="237" y="90"/>
                  <a:pt x="241" y="87"/>
                  <a:pt x="241" y="82"/>
                </a:cubicBezTo>
                <a:cubicBezTo>
                  <a:pt x="241" y="19"/>
                  <a:pt x="241" y="19"/>
                  <a:pt x="241" y="19"/>
                </a:cubicBezTo>
                <a:cubicBezTo>
                  <a:pt x="241" y="8"/>
                  <a:pt x="232" y="0"/>
                  <a:pt x="221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8" y="0"/>
                  <a:pt x="0" y="8"/>
                  <a:pt x="0" y="19"/>
                </a:cubicBezTo>
                <a:cubicBezTo>
                  <a:pt x="0" y="364"/>
                  <a:pt x="0" y="364"/>
                  <a:pt x="0" y="364"/>
                </a:cubicBezTo>
                <a:cubicBezTo>
                  <a:pt x="0" y="375"/>
                  <a:pt x="8" y="383"/>
                  <a:pt x="19" y="383"/>
                </a:cubicBezTo>
                <a:cubicBezTo>
                  <a:pt x="221" y="383"/>
                  <a:pt x="221" y="383"/>
                  <a:pt x="221" y="383"/>
                </a:cubicBezTo>
                <a:cubicBezTo>
                  <a:pt x="232" y="383"/>
                  <a:pt x="241" y="375"/>
                  <a:pt x="241" y="364"/>
                </a:cubicBezTo>
                <a:cubicBezTo>
                  <a:pt x="241" y="114"/>
                  <a:pt x="241" y="114"/>
                  <a:pt x="241" y="114"/>
                </a:cubicBezTo>
                <a:cubicBezTo>
                  <a:pt x="241" y="110"/>
                  <a:pt x="237" y="106"/>
                  <a:pt x="233" y="106"/>
                </a:cubicBezTo>
                <a:cubicBezTo>
                  <a:pt x="228" y="106"/>
                  <a:pt x="225" y="110"/>
                  <a:pt x="225" y="114"/>
                </a:cubicBezTo>
                <a:cubicBezTo>
                  <a:pt x="225" y="295"/>
                  <a:pt x="225" y="295"/>
                  <a:pt x="225" y="295"/>
                </a:cubicBezTo>
                <a:cubicBezTo>
                  <a:pt x="16" y="295"/>
                  <a:pt x="16" y="295"/>
                  <a:pt x="16" y="295"/>
                </a:cubicBezTo>
                <a:cubicBezTo>
                  <a:pt x="16" y="69"/>
                  <a:pt x="16" y="69"/>
                  <a:pt x="16" y="69"/>
                </a:cubicBezTo>
                <a:cubicBezTo>
                  <a:pt x="225" y="69"/>
                  <a:pt x="225" y="69"/>
                  <a:pt x="225" y="69"/>
                </a:cubicBezTo>
                <a:cubicBezTo>
                  <a:pt x="225" y="82"/>
                  <a:pt x="225" y="82"/>
                  <a:pt x="225" y="82"/>
                </a:cubicBezTo>
                <a:cubicBezTo>
                  <a:pt x="225" y="87"/>
                  <a:pt x="228" y="90"/>
                  <a:pt x="233" y="90"/>
                </a:cubicBezTo>
                <a:close/>
                <a:moveTo>
                  <a:pt x="225" y="311"/>
                </a:moveTo>
                <a:cubicBezTo>
                  <a:pt x="225" y="364"/>
                  <a:pt x="225" y="364"/>
                  <a:pt x="225" y="364"/>
                </a:cubicBezTo>
                <a:cubicBezTo>
                  <a:pt x="225" y="366"/>
                  <a:pt x="223" y="367"/>
                  <a:pt x="221" y="367"/>
                </a:cubicBezTo>
                <a:cubicBezTo>
                  <a:pt x="19" y="367"/>
                  <a:pt x="19" y="367"/>
                  <a:pt x="19" y="367"/>
                </a:cubicBezTo>
                <a:cubicBezTo>
                  <a:pt x="17" y="367"/>
                  <a:pt x="16" y="366"/>
                  <a:pt x="16" y="364"/>
                </a:cubicBezTo>
                <a:cubicBezTo>
                  <a:pt x="16" y="311"/>
                  <a:pt x="16" y="311"/>
                  <a:pt x="16" y="311"/>
                </a:cubicBezTo>
                <a:lnTo>
                  <a:pt x="225" y="311"/>
                </a:lnTo>
                <a:close/>
                <a:moveTo>
                  <a:pt x="16" y="53"/>
                </a:moveTo>
                <a:cubicBezTo>
                  <a:pt x="16" y="19"/>
                  <a:pt x="16" y="19"/>
                  <a:pt x="16" y="19"/>
                </a:cubicBezTo>
                <a:cubicBezTo>
                  <a:pt x="16" y="17"/>
                  <a:pt x="17" y="16"/>
                  <a:pt x="19" y="16"/>
                </a:cubicBezTo>
                <a:cubicBezTo>
                  <a:pt x="221" y="16"/>
                  <a:pt x="221" y="16"/>
                  <a:pt x="221" y="16"/>
                </a:cubicBezTo>
                <a:cubicBezTo>
                  <a:pt x="223" y="16"/>
                  <a:pt x="225" y="17"/>
                  <a:pt x="225" y="19"/>
                </a:cubicBezTo>
                <a:cubicBezTo>
                  <a:pt x="225" y="53"/>
                  <a:pt x="225" y="53"/>
                  <a:pt x="225" y="53"/>
                </a:cubicBezTo>
                <a:lnTo>
                  <a:pt x="16" y="53"/>
                </a:lnTo>
                <a:close/>
                <a:moveTo>
                  <a:pt x="135" y="26"/>
                </a:moveTo>
                <a:cubicBezTo>
                  <a:pt x="99" y="26"/>
                  <a:pt x="99" y="26"/>
                  <a:pt x="99" y="26"/>
                </a:cubicBezTo>
                <a:cubicBezTo>
                  <a:pt x="95" y="26"/>
                  <a:pt x="91" y="30"/>
                  <a:pt x="91" y="34"/>
                </a:cubicBezTo>
                <a:cubicBezTo>
                  <a:pt x="91" y="38"/>
                  <a:pt x="95" y="42"/>
                  <a:pt x="99" y="42"/>
                </a:cubicBezTo>
                <a:cubicBezTo>
                  <a:pt x="135" y="42"/>
                  <a:pt x="135" y="42"/>
                  <a:pt x="135" y="42"/>
                </a:cubicBezTo>
                <a:cubicBezTo>
                  <a:pt x="139" y="42"/>
                  <a:pt x="143" y="38"/>
                  <a:pt x="143" y="34"/>
                </a:cubicBezTo>
                <a:cubicBezTo>
                  <a:pt x="143" y="30"/>
                  <a:pt x="139" y="26"/>
                  <a:pt x="135" y="2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MS PGothic" panose="020B0600070205080204" pitchFamily="34" charset="-128"/>
            </a:endParaRPr>
          </a:p>
        </p:txBody>
      </p:sp>
      <p:sp>
        <p:nvSpPr>
          <p:cNvPr id="165" name="Freeform 3">
            <a:extLst>
              <a:ext uri="{FF2B5EF4-FFF2-40B4-BE49-F238E27FC236}">
                <a16:creationId xmlns="" xmlns:a16="http://schemas.microsoft.com/office/drawing/2014/main" id="{AB5CBB32-57E5-45A7-8C58-466F228552A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585651" y="4917908"/>
            <a:ext cx="979493" cy="658761"/>
          </a:xfrm>
          <a:custGeom>
            <a:avLst/>
            <a:gdLst>
              <a:gd name="T0" fmla="*/ 2147483647 w 461"/>
              <a:gd name="T1" fmla="*/ 2147483647 h 310"/>
              <a:gd name="T2" fmla="*/ 2147483647 w 461"/>
              <a:gd name="T3" fmla="*/ 2147483647 h 310"/>
              <a:gd name="T4" fmla="*/ 2147483647 w 461"/>
              <a:gd name="T5" fmla="*/ 2147483647 h 310"/>
              <a:gd name="T6" fmla="*/ 2147483647 w 461"/>
              <a:gd name="T7" fmla="*/ 2147483647 h 310"/>
              <a:gd name="T8" fmla="*/ 2147483647 w 461"/>
              <a:gd name="T9" fmla="*/ 2147483647 h 310"/>
              <a:gd name="T10" fmla="*/ 2147483647 w 461"/>
              <a:gd name="T11" fmla="*/ 2147483647 h 310"/>
              <a:gd name="T12" fmla="*/ 2147483647 w 461"/>
              <a:gd name="T13" fmla="*/ 2147483647 h 310"/>
              <a:gd name="T14" fmla="*/ 2147483647 w 461"/>
              <a:gd name="T15" fmla="*/ 2147483647 h 310"/>
              <a:gd name="T16" fmla="*/ 0 w 461"/>
              <a:gd name="T17" fmla="*/ 2147483647 h 310"/>
              <a:gd name="T18" fmla="*/ 2147483647 w 461"/>
              <a:gd name="T19" fmla="*/ 2147483647 h 310"/>
              <a:gd name="T20" fmla="*/ 2147483647 w 461"/>
              <a:gd name="T21" fmla="*/ 2147483647 h 310"/>
              <a:gd name="T22" fmla="*/ 2147483647 w 461"/>
              <a:gd name="T23" fmla="*/ 2147483647 h 310"/>
              <a:gd name="T24" fmla="*/ 2147483647 w 461"/>
              <a:gd name="T25" fmla="*/ 2147483647 h 310"/>
              <a:gd name="T26" fmla="*/ 2147483647 w 461"/>
              <a:gd name="T27" fmla="*/ 2147483647 h 310"/>
              <a:gd name="T28" fmla="*/ 2147483647 w 461"/>
              <a:gd name="T29" fmla="*/ 2147483647 h 310"/>
              <a:gd name="T30" fmla="*/ 2147483647 w 461"/>
              <a:gd name="T31" fmla="*/ 2147483647 h 310"/>
              <a:gd name="T32" fmla="*/ 2147483647 w 461"/>
              <a:gd name="T33" fmla="*/ 2147483647 h 310"/>
              <a:gd name="T34" fmla="*/ 2147483647 w 461"/>
              <a:gd name="T35" fmla="*/ 2147483647 h 310"/>
              <a:gd name="T36" fmla="*/ 2147483647 w 461"/>
              <a:gd name="T37" fmla="*/ 2147483647 h 310"/>
              <a:gd name="T38" fmla="*/ 2147483647 w 461"/>
              <a:gd name="T39" fmla="*/ 2147483647 h 310"/>
              <a:gd name="T40" fmla="*/ 2147483647 w 461"/>
              <a:gd name="T41" fmla="*/ 2147483647 h 310"/>
              <a:gd name="T42" fmla="*/ 2147483647 w 461"/>
              <a:gd name="T43" fmla="*/ 2147483647 h 310"/>
              <a:gd name="T44" fmla="*/ 2147483647 w 461"/>
              <a:gd name="T45" fmla="*/ 2147483647 h 310"/>
              <a:gd name="T46" fmla="*/ 2147483647 w 461"/>
              <a:gd name="T47" fmla="*/ 2147483647 h 310"/>
              <a:gd name="T48" fmla="*/ 2147483647 w 461"/>
              <a:gd name="T49" fmla="*/ 2147483647 h 310"/>
              <a:gd name="T50" fmla="*/ 2147483647 w 461"/>
              <a:gd name="T51" fmla="*/ 2147483647 h 310"/>
              <a:gd name="T52" fmla="*/ 2147483647 w 461"/>
              <a:gd name="T53" fmla="*/ 2147483647 h 310"/>
              <a:gd name="T54" fmla="*/ 2147483647 w 461"/>
              <a:gd name="T55" fmla="*/ 2147483647 h 310"/>
              <a:gd name="T56" fmla="*/ 2147483647 w 461"/>
              <a:gd name="T57" fmla="*/ 2147483647 h 310"/>
              <a:gd name="T58" fmla="*/ 2147483647 w 461"/>
              <a:gd name="T59" fmla="*/ 2147483647 h 310"/>
              <a:gd name="T60" fmla="*/ 2147483647 w 461"/>
              <a:gd name="T61" fmla="*/ 2147483647 h 310"/>
              <a:gd name="T62" fmla="*/ 2147483647 w 461"/>
              <a:gd name="T63" fmla="*/ 2147483647 h 310"/>
              <a:gd name="T64" fmla="*/ 2147483647 w 461"/>
              <a:gd name="T65" fmla="*/ 2147483647 h 310"/>
              <a:gd name="T66" fmla="*/ 2147483647 w 461"/>
              <a:gd name="T67" fmla="*/ 2147483647 h 310"/>
              <a:gd name="T68" fmla="*/ 2147483647 w 461"/>
              <a:gd name="T69" fmla="*/ 2147483647 h 310"/>
              <a:gd name="T70" fmla="*/ 2147483647 w 461"/>
              <a:gd name="T71" fmla="*/ 2147483647 h 310"/>
              <a:gd name="T72" fmla="*/ 2147483647 w 461"/>
              <a:gd name="T73" fmla="*/ 2147483647 h 310"/>
              <a:gd name="T74" fmla="*/ 2147483647 w 461"/>
              <a:gd name="T75" fmla="*/ 2147483647 h 310"/>
              <a:gd name="T76" fmla="*/ 2147483647 w 461"/>
              <a:gd name="T77" fmla="*/ 2147483647 h 310"/>
              <a:gd name="T78" fmla="*/ 2147483647 w 461"/>
              <a:gd name="T79" fmla="*/ 2147483647 h 310"/>
              <a:gd name="T80" fmla="*/ 2147483647 w 461"/>
              <a:gd name="T81" fmla="*/ 2147483647 h 310"/>
              <a:gd name="T82" fmla="*/ 2147483647 w 461"/>
              <a:gd name="T83" fmla="*/ 2147483647 h 310"/>
              <a:gd name="T84" fmla="*/ 2147483647 w 461"/>
              <a:gd name="T85" fmla="*/ 2147483647 h 310"/>
              <a:gd name="T86" fmla="*/ 2147483647 w 461"/>
              <a:gd name="T87" fmla="*/ 2147483647 h 310"/>
              <a:gd name="T88" fmla="*/ 2147483647 w 461"/>
              <a:gd name="T89" fmla="*/ 2147483647 h 310"/>
              <a:gd name="T90" fmla="*/ 2147483647 w 461"/>
              <a:gd name="T91" fmla="*/ 2147483647 h 310"/>
              <a:gd name="T92" fmla="*/ 2147483647 w 461"/>
              <a:gd name="T93" fmla="*/ 2147483647 h 310"/>
              <a:gd name="T94" fmla="*/ 2147483647 w 461"/>
              <a:gd name="T95" fmla="*/ 2147483647 h 310"/>
              <a:gd name="T96" fmla="*/ 2147483647 w 461"/>
              <a:gd name="T97" fmla="*/ 2147483647 h 310"/>
              <a:gd name="T98" fmla="*/ 2147483647 w 461"/>
              <a:gd name="T99" fmla="*/ 2147483647 h 310"/>
              <a:gd name="T100" fmla="*/ 2147483647 w 461"/>
              <a:gd name="T101" fmla="*/ 2147483647 h 310"/>
              <a:gd name="T102" fmla="*/ 2147483647 w 461"/>
              <a:gd name="T103" fmla="*/ 2147483647 h 310"/>
              <a:gd name="T104" fmla="*/ 2147483647 w 461"/>
              <a:gd name="T105" fmla="*/ 2147483647 h 310"/>
              <a:gd name="T106" fmla="*/ 2147483647 w 461"/>
              <a:gd name="T107" fmla="*/ 2147483647 h 310"/>
              <a:gd name="T108" fmla="*/ 2147483647 w 461"/>
              <a:gd name="T109" fmla="*/ 2147483647 h 310"/>
              <a:gd name="T110" fmla="*/ 2147483647 w 461"/>
              <a:gd name="T111" fmla="*/ 2147483647 h 310"/>
              <a:gd name="T112" fmla="*/ 2147483647 w 461"/>
              <a:gd name="T113" fmla="*/ 2147483647 h 310"/>
              <a:gd name="T114" fmla="*/ 2147483647 w 461"/>
              <a:gd name="T115" fmla="*/ 2147483647 h 310"/>
              <a:gd name="T116" fmla="*/ 2147483647 w 461"/>
              <a:gd name="T117" fmla="*/ 2147483647 h 310"/>
              <a:gd name="T118" fmla="*/ 2147483647 w 461"/>
              <a:gd name="T119" fmla="*/ 2147483647 h 310"/>
              <a:gd name="T120" fmla="*/ 2147483647 w 461"/>
              <a:gd name="T121" fmla="*/ 2147483647 h 310"/>
              <a:gd name="T122" fmla="*/ 2147483647 w 461"/>
              <a:gd name="T123" fmla="*/ 2147483647 h 310"/>
              <a:gd name="T124" fmla="*/ 2147483647 w 461"/>
              <a:gd name="T125" fmla="*/ 2147483647 h 310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61"/>
              <a:gd name="T190" fmla="*/ 0 h 310"/>
              <a:gd name="T191" fmla="*/ 461 w 461"/>
              <a:gd name="T192" fmla="*/ 310 h 310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61" h="310">
                <a:moveTo>
                  <a:pt x="449" y="165"/>
                </a:moveTo>
                <a:cubicBezTo>
                  <a:pt x="444" y="158"/>
                  <a:pt x="438" y="153"/>
                  <a:pt x="431" y="149"/>
                </a:cubicBezTo>
                <a:cubicBezTo>
                  <a:pt x="439" y="138"/>
                  <a:pt x="444" y="125"/>
                  <a:pt x="444" y="111"/>
                </a:cubicBezTo>
                <a:cubicBezTo>
                  <a:pt x="444" y="102"/>
                  <a:pt x="442" y="93"/>
                  <a:pt x="438" y="85"/>
                </a:cubicBezTo>
                <a:cubicBezTo>
                  <a:pt x="432" y="72"/>
                  <a:pt x="422" y="61"/>
                  <a:pt x="409" y="55"/>
                </a:cubicBezTo>
                <a:cubicBezTo>
                  <a:pt x="401" y="51"/>
                  <a:pt x="392" y="49"/>
                  <a:pt x="382" y="49"/>
                </a:cubicBezTo>
                <a:cubicBezTo>
                  <a:pt x="348" y="49"/>
                  <a:pt x="321" y="77"/>
                  <a:pt x="321" y="111"/>
                </a:cubicBezTo>
                <a:cubicBezTo>
                  <a:pt x="321" y="125"/>
                  <a:pt x="326" y="138"/>
                  <a:pt x="334" y="149"/>
                </a:cubicBezTo>
                <a:cubicBezTo>
                  <a:pt x="329" y="151"/>
                  <a:pt x="325" y="155"/>
                  <a:pt x="321" y="158"/>
                </a:cubicBezTo>
                <a:cubicBezTo>
                  <a:pt x="320" y="157"/>
                  <a:pt x="319" y="155"/>
                  <a:pt x="318" y="154"/>
                </a:cubicBezTo>
                <a:cubicBezTo>
                  <a:pt x="311" y="145"/>
                  <a:pt x="302" y="137"/>
                  <a:pt x="293" y="132"/>
                </a:cubicBezTo>
                <a:cubicBezTo>
                  <a:pt x="304" y="118"/>
                  <a:pt x="311" y="100"/>
                  <a:pt x="311" y="80"/>
                </a:cubicBezTo>
                <a:cubicBezTo>
                  <a:pt x="311" y="65"/>
                  <a:pt x="307" y="50"/>
                  <a:pt x="299" y="37"/>
                </a:cubicBezTo>
                <a:cubicBezTo>
                  <a:pt x="296" y="34"/>
                  <a:pt x="291" y="33"/>
                  <a:pt x="288" y="35"/>
                </a:cubicBezTo>
                <a:cubicBezTo>
                  <a:pt x="284" y="37"/>
                  <a:pt x="283" y="42"/>
                  <a:pt x="285" y="46"/>
                </a:cubicBezTo>
                <a:cubicBezTo>
                  <a:pt x="292" y="56"/>
                  <a:pt x="295" y="68"/>
                  <a:pt x="295" y="80"/>
                </a:cubicBezTo>
                <a:cubicBezTo>
                  <a:pt x="295" y="116"/>
                  <a:pt x="266" y="144"/>
                  <a:pt x="231" y="144"/>
                </a:cubicBezTo>
                <a:cubicBezTo>
                  <a:pt x="196" y="144"/>
                  <a:pt x="167" y="116"/>
                  <a:pt x="167" y="80"/>
                </a:cubicBezTo>
                <a:cubicBezTo>
                  <a:pt x="167" y="45"/>
                  <a:pt x="196" y="16"/>
                  <a:pt x="231" y="16"/>
                </a:cubicBezTo>
                <a:cubicBezTo>
                  <a:pt x="243" y="16"/>
                  <a:pt x="255" y="20"/>
                  <a:pt x="265" y="26"/>
                </a:cubicBezTo>
                <a:cubicBezTo>
                  <a:pt x="269" y="28"/>
                  <a:pt x="274" y="27"/>
                  <a:pt x="276" y="24"/>
                </a:cubicBezTo>
                <a:cubicBezTo>
                  <a:pt x="279" y="20"/>
                  <a:pt x="278" y="15"/>
                  <a:pt x="274" y="13"/>
                </a:cubicBezTo>
                <a:cubicBezTo>
                  <a:pt x="261" y="4"/>
                  <a:pt x="246" y="0"/>
                  <a:pt x="231" y="0"/>
                </a:cubicBezTo>
                <a:cubicBezTo>
                  <a:pt x="187" y="0"/>
                  <a:pt x="151" y="36"/>
                  <a:pt x="151" y="80"/>
                </a:cubicBezTo>
                <a:cubicBezTo>
                  <a:pt x="151" y="100"/>
                  <a:pt x="158" y="118"/>
                  <a:pt x="169" y="132"/>
                </a:cubicBezTo>
                <a:cubicBezTo>
                  <a:pt x="160" y="137"/>
                  <a:pt x="151" y="145"/>
                  <a:pt x="144" y="154"/>
                </a:cubicBezTo>
                <a:cubicBezTo>
                  <a:pt x="143" y="155"/>
                  <a:pt x="142" y="157"/>
                  <a:pt x="140" y="159"/>
                </a:cubicBezTo>
                <a:cubicBezTo>
                  <a:pt x="137" y="155"/>
                  <a:pt x="132" y="151"/>
                  <a:pt x="128" y="149"/>
                </a:cubicBezTo>
                <a:cubicBezTo>
                  <a:pt x="136" y="138"/>
                  <a:pt x="141" y="125"/>
                  <a:pt x="141" y="111"/>
                </a:cubicBezTo>
                <a:cubicBezTo>
                  <a:pt x="141" y="102"/>
                  <a:pt x="139" y="93"/>
                  <a:pt x="135" y="85"/>
                </a:cubicBezTo>
                <a:cubicBezTo>
                  <a:pt x="129" y="72"/>
                  <a:pt x="118" y="61"/>
                  <a:pt x="105" y="55"/>
                </a:cubicBezTo>
                <a:cubicBezTo>
                  <a:pt x="97" y="51"/>
                  <a:pt x="88" y="49"/>
                  <a:pt x="79" y="49"/>
                </a:cubicBezTo>
                <a:cubicBezTo>
                  <a:pt x="45" y="49"/>
                  <a:pt x="17" y="77"/>
                  <a:pt x="17" y="111"/>
                </a:cubicBezTo>
                <a:cubicBezTo>
                  <a:pt x="17" y="125"/>
                  <a:pt x="22" y="138"/>
                  <a:pt x="30" y="149"/>
                </a:cubicBezTo>
                <a:cubicBezTo>
                  <a:pt x="23" y="153"/>
                  <a:pt x="17" y="158"/>
                  <a:pt x="12" y="165"/>
                </a:cubicBezTo>
                <a:cubicBezTo>
                  <a:pt x="5" y="174"/>
                  <a:pt x="0" y="186"/>
                  <a:pt x="0" y="198"/>
                </a:cubicBezTo>
                <a:cubicBezTo>
                  <a:pt x="0" y="266"/>
                  <a:pt x="0" y="266"/>
                  <a:pt x="0" y="266"/>
                </a:cubicBezTo>
                <a:cubicBezTo>
                  <a:pt x="0" y="276"/>
                  <a:pt x="7" y="284"/>
                  <a:pt x="17" y="284"/>
                </a:cubicBezTo>
                <a:cubicBezTo>
                  <a:pt x="128" y="284"/>
                  <a:pt x="128" y="284"/>
                  <a:pt x="128" y="284"/>
                </a:cubicBezTo>
                <a:cubicBezTo>
                  <a:pt x="128" y="288"/>
                  <a:pt x="128" y="288"/>
                  <a:pt x="128" y="288"/>
                </a:cubicBezTo>
                <a:cubicBezTo>
                  <a:pt x="128" y="300"/>
                  <a:pt x="136" y="310"/>
                  <a:pt x="148" y="310"/>
                </a:cubicBezTo>
                <a:cubicBezTo>
                  <a:pt x="314" y="310"/>
                  <a:pt x="314" y="310"/>
                  <a:pt x="314" y="310"/>
                </a:cubicBezTo>
                <a:cubicBezTo>
                  <a:pt x="326" y="310"/>
                  <a:pt x="334" y="300"/>
                  <a:pt x="334" y="288"/>
                </a:cubicBezTo>
                <a:cubicBezTo>
                  <a:pt x="334" y="284"/>
                  <a:pt x="334" y="284"/>
                  <a:pt x="334" y="284"/>
                </a:cubicBezTo>
                <a:cubicBezTo>
                  <a:pt x="444" y="284"/>
                  <a:pt x="444" y="284"/>
                  <a:pt x="444" y="284"/>
                </a:cubicBezTo>
                <a:cubicBezTo>
                  <a:pt x="454" y="284"/>
                  <a:pt x="461" y="276"/>
                  <a:pt x="461" y="266"/>
                </a:cubicBezTo>
                <a:cubicBezTo>
                  <a:pt x="461" y="198"/>
                  <a:pt x="461" y="198"/>
                  <a:pt x="461" y="198"/>
                </a:cubicBezTo>
                <a:cubicBezTo>
                  <a:pt x="461" y="186"/>
                  <a:pt x="456" y="174"/>
                  <a:pt x="449" y="165"/>
                </a:cubicBezTo>
                <a:close/>
                <a:moveTo>
                  <a:pt x="79" y="65"/>
                </a:moveTo>
                <a:cubicBezTo>
                  <a:pt x="86" y="65"/>
                  <a:pt x="92" y="67"/>
                  <a:pt x="98" y="70"/>
                </a:cubicBezTo>
                <a:cubicBezTo>
                  <a:pt x="108" y="74"/>
                  <a:pt x="116" y="82"/>
                  <a:pt x="120" y="92"/>
                </a:cubicBezTo>
                <a:cubicBezTo>
                  <a:pt x="123" y="97"/>
                  <a:pt x="125" y="104"/>
                  <a:pt x="125" y="111"/>
                </a:cubicBezTo>
                <a:cubicBezTo>
                  <a:pt x="125" y="125"/>
                  <a:pt x="118" y="137"/>
                  <a:pt x="109" y="146"/>
                </a:cubicBezTo>
                <a:cubicBezTo>
                  <a:pt x="108" y="146"/>
                  <a:pt x="107" y="147"/>
                  <a:pt x="106" y="147"/>
                </a:cubicBezTo>
                <a:cubicBezTo>
                  <a:pt x="106" y="148"/>
                  <a:pt x="106" y="148"/>
                  <a:pt x="105" y="148"/>
                </a:cubicBezTo>
                <a:cubicBezTo>
                  <a:pt x="105" y="149"/>
                  <a:pt x="104" y="149"/>
                  <a:pt x="103" y="150"/>
                </a:cubicBezTo>
                <a:cubicBezTo>
                  <a:pt x="103" y="150"/>
                  <a:pt x="102" y="150"/>
                  <a:pt x="102" y="151"/>
                </a:cubicBezTo>
                <a:cubicBezTo>
                  <a:pt x="101" y="151"/>
                  <a:pt x="100" y="151"/>
                  <a:pt x="100" y="152"/>
                </a:cubicBezTo>
                <a:cubicBezTo>
                  <a:pt x="99" y="152"/>
                  <a:pt x="98" y="152"/>
                  <a:pt x="98" y="153"/>
                </a:cubicBezTo>
                <a:cubicBezTo>
                  <a:pt x="97" y="153"/>
                  <a:pt x="97" y="153"/>
                  <a:pt x="96" y="153"/>
                </a:cubicBezTo>
                <a:cubicBezTo>
                  <a:pt x="95" y="154"/>
                  <a:pt x="94" y="154"/>
                  <a:pt x="94" y="154"/>
                </a:cubicBezTo>
                <a:cubicBezTo>
                  <a:pt x="93" y="154"/>
                  <a:pt x="92" y="155"/>
                  <a:pt x="92" y="155"/>
                </a:cubicBezTo>
                <a:cubicBezTo>
                  <a:pt x="91" y="155"/>
                  <a:pt x="90" y="155"/>
                  <a:pt x="89" y="156"/>
                </a:cubicBezTo>
                <a:cubicBezTo>
                  <a:pt x="89" y="156"/>
                  <a:pt x="88" y="156"/>
                  <a:pt x="88" y="156"/>
                </a:cubicBezTo>
                <a:cubicBezTo>
                  <a:pt x="87" y="156"/>
                  <a:pt x="86" y="156"/>
                  <a:pt x="84" y="156"/>
                </a:cubicBezTo>
                <a:cubicBezTo>
                  <a:pt x="84" y="156"/>
                  <a:pt x="84" y="156"/>
                  <a:pt x="83" y="156"/>
                </a:cubicBezTo>
                <a:cubicBezTo>
                  <a:pt x="82" y="157"/>
                  <a:pt x="80" y="157"/>
                  <a:pt x="79" y="157"/>
                </a:cubicBezTo>
                <a:cubicBezTo>
                  <a:pt x="77" y="157"/>
                  <a:pt x="76" y="157"/>
                  <a:pt x="74" y="156"/>
                </a:cubicBezTo>
                <a:cubicBezTo>
                  <a:pt x="74" y="156"/>
                  <a:pt x="74" y="156"/>
                  <a:pt x="73" y="156"/>
                </a:cubicBezTo>
                <a:cubicBezTo>
                  <a:pt x="72" y="156"/>
                  <a:pt x="71" y="156"/>
                  <a:pt x="70" y="156"/>
                </a:cubicBezTo>
                <a:cubicBezTo>
                  <a:pt x="69" y="156"/>
                  <a:pt x="69" y="156"/>
                  <a:pt x="69" y="156"/>
                </a:cubicBezTo>
                <a:cubicBezTo>
                  <a:pt x="68" y="155"/>
                  <a:pt x="67" y="155"/>
                  <a:pt x="66" y="155"/>
                </a:cubicBezTo>
                <a:cubicBezTo>
                  <a:pt x="65" y="155"/>
                  <a:pt x="65" y="154"/>
                  <a:pt x="64" y="154"/>
                </a:cubicBezTo>
                <a:cubicBezTo>
                  <a:pt x="63" y="154"/>
                  <a:pt x="63" y="154"/>
                  <a:pt x="62" y="153"/>
                </a:cubicBezTo>
                <a:cubicBezTo>
                  <a:pt x="61" y="153"/>
                  <a:pt x="61" y="153"/>
                  <a:pt x="60" y="153"/>
                </a:cubicBezTo>
                <a:cubicBezTo>
                  <a:pt x="59" y="152"/>
                  <a:pt x="59" y="152"/>
                  <a:pt x="58" y="152"/>
                </a:cubicBezTo>
                <a:cubicBezTo>
                  <a:pt x="57" y="151"/>
                  <a:pt x="57" y="151"/>
                  <a:pt x="56" y="151"/>
                </a:cubicBezTo>
                <a:cubicBezTo>
                  <a:pt x="56" y="150"/>
                  <a:pt x="55" y="150"/>
                  <a:pt x="55" y="150"/>
                </a:cubicBezTo>
                <a:cubicBezTo>
                  <a:pt x="54" y="149"/>
                  <a:pt x="53" y="149"/>
                  <a:pt x="52" y="148"/>
                </a:cubicBezTo>
                <a:cubicBezTo>
                  <a:pt x="52" y="148"/>
                  <a:pt x="52" y="148"/>
                  <a:pt x="51" y="147"/>
                </a:cubicBezTo>
                <a:cubicBezTo>
                  <a:pt x="51" y="147"/>
                  <a:pt x="50" y="146"/>
                  <a:pt x="49" y="146"/>
                </a:cubicBezTo>
                <a:cubicBezTo>
                  <a:pt x="39" y="137"/>
                  <a:pt x="33" y="125"/>
                  <a:pt x="33" y="111"/>
                </a:cubicBezTo>
                <a:cubicBezTo>
                  <a:pt x="33" y="86"/>
                  <a:pt x="54" y="65"/>
                  <a:pt x="79" y="65"/>
                </a:cubicBezTo>
                <a:close/>
                <a:moveTo>
                  <a:pt x="129" y="189"/>
                </a:moveTo>
                <a:cubicBezTo>
                  <a:pt x="128" y="190"/>
                  <a:pt x="128" y="191"/>
                  <a:pt x="128" y="192"/>
                </a:cubicBezTo>
                <a:cubicBezTo>
                  <a:pt x="128" y="194"/>
                  <a:pt x="128" y="195"/>
                  <a:pt x="128" y="196"/>
                </a:cubicBezTo>
                <a:cubicBezTo>
                  <a:pt x="128" y="196"/>
                  <a:pt x="128" y="196"/>
                  <a:pt x="128" y="196"/>
                </a:cubicBezTo>
                <a:cubicBezTo>
                  <a:pt x="128" y="268"/>
                  <a:pt x="128" y="268"/>
                  <a:pt x="128" y="268"/>
                </a:cubicBezTo>
                <a:cubicBezTo>
                  <a:pt x="43" y="268"/>
                  <a:pt x="43" y="268"/>
                  <a:pt x="43" y="268"/>
                </a:cubicBezTo>
                <a:cubicBezTo>
                  <a:pt x="43" y="206"/>
                  <a:pt x="43" y="206"/>
                  <a:pt x="43" y="206"/>
                </a:cubicBezTo>
                <a:cubicBezTo>
                  <a:pt x="43" y="202"/>
                  <a:pt x="39" y="198"/>
                  <a:pt x="35" y="198"/>
                </a:cubicBezTo>
                <a:cubicBezTo>
                  <a:pt x="31" y="198"/>
                  <a:pt x="27" y="202"/>
                  <a:pt x="27" y="206"/>
                </a:cubicBezTo>
                <a:cubicBezTo>
                  <a:pt x="27" y="268"/>
                  <a:pt x="27" y="268"/>
                  <a:pt x="27" y="268"/>
                </a:cubicBezTo>
                <a:cubicBezTo>
                  <a:pt x="17" y="268"/>
                  <a:pt x="17" y="268"/>
                  <a:pt x="17" y="268"/>
                </a:cubicBezTo>
                <a:cubicBezTo>
                  <a:pt x="17" y="268"/>
                  <a:pt x="17" y="268"/>
                  <a:pt x="17" y="268"/>
                </a:cubicBezTo>
                <a:cubicBezTo>
                  <a:pt x="16" y="268"/>
                  <a:pt x="16" y="267"/>
                  <a:pt x="16" y="266"/>
                </a:cubicBezTo>
                <a:cubicBezTo>
                  <a:pt x="16" y="198"/>
                  <a:pt x="16" y="198"/>
                  <a:pt x="16" y="198"/>
                </a:cubicBezTo>
                <a:cubicBezTo>
                  <a:pt x="16" y="191"/>
                  <a:pt x="19" y="182"/>
                  <a:pt x="25" y="174"/>
                </a:cubicBezTo>
                <a:cubicBezTo>
                  <a:pt x="30" y="168"/>
                  <a:pt x="36" y="163"/>
                  <a:pt x="42" y="160"/>
                </a:cubicBezTo>
                <a:cubicBezTo>
                  <a:pt x="42" y="161"/>
                  <a:pt x="42" y="161"/>
                  <a:pt x="43" y="161"/>
                </a:cubicBezTo>
                <a:cubicBezTo>
                  <a:pt x="44" y="162"/>
                  <a:pt x="45" y="162"/>
                  <a:pt x="46" y="163"/>
                </a:cubicBezTo>
                <a:cubicBezTo>
                  <a:pt x="46" y="163"/>
                  <a:pt x="47" y="164"/>
                  <a:pt x="47" y="164"/>
                </a:cubicBezTo>
                <a:cubicBezTo>
                  <a:pt x="48" y="164"/>
                  <a:pt x="49" y="165"/>
                  <a:pt x="50" y="166"/>
                </a:cubicBezTo>
                <a:cubicBezTo>
                  <a:pt x="50" y="166"/>
                  <a:pt x="51" y="166"/>
                  <a:pt x="51" y="166"/>
                </a:cubicBezTo>
                <a:cubicBezTo>
                  <a:pt x="53" y="167"/>
                  <a:pt x="55" y="168"/>
                  <a:pt x="57" y="169"/>
                </a:cubicBezTo>
                <a:cubicBezTo>
                  <a:pt x="58" y="169"/>
                  <a:pt x="59" y="169"/>
                  <a:pt x="60" y="170"/>
                </a:cubicBezTo>
                <a:cubicBezTo>
                  <a:pt x="60" y="170"/>
                  <a:pt x="61" y="170"/>
                  <a:pt x="62" y="170"/>
                </a:cubicBezTo>
                <a:cubicBezTo>
                  <a:pt x="63" y="171"/>
                  <a:pt x="64" y="171"/>
                  <a:pt x="65" y="171"/>
                </a:cubicBezTo>
                <a:cubicBezTo>
                  <a:pt x="66" y="171"/>
                  <a:pt x="67" y="171"/>
                  <a:pt x="67" y="172"/>
                </a:cubicBezTo>
                <a:cubicBezTo>
                  <a:pt x="69" y="172"/>
                  <a:pt x="70" y="172"/>
                  <a:pt x="71" y="172"/>
                </a:cubicBezTo>
                <a:cubicBezTo>
                  <a:pt x="72" y="172"/>
                  <a:pt x="72" y="172"/>
                  <a:pt x="73" y="172"/>
                </a:cubicBezTo>
                <a:cubicBezTo>
                  <a:pt x="75" y="173"/>
                  <a:pt x="77" y="173"/>
                  <a:pt x="79" y="173"/>
                </a:cubicBezTo>
                <a:cubicBezTo>
                  <a:pt x="81" y="173"/>
                  <a:pt x="83" y="173"/>
                  <a:pt x="85" y="172"/>
                </a:cubicBezTo>
                <a:cubicBezTo>
                  <a:pt x="85" y="172"/>
                  <a:pt x="86" y="172"/>
                  <a:pt x="86" y="172"/>
                </a:cubicBezTo>
                <a:cubicBezTo>
                  <a:pt x="88" y="172"/>
                  <a:pt x="89" y="172"/>
                  <a:pt x="90" y="172"/>
                </a:cubicBezTo>
                <a:cubicBezTo>
                  <a:pt x="91" y="171"/>
                  <a:pt x="92" y="171"/>
                  <a:pt x="92" y="171"/>
                </a:cubicBezTo>
                <a:cubicBezTo>
                  <a:pt x="94" y="171"/>
                  <a:pt x="95" y="171"/>
                  <a:pt x="96" y="170"/>
                </a:cubicBezTo>
                <a:cubicBezTo>
                  <a:pt x="96" y="170"/>
                  <a:pt x="97" y="170"/>
                  <a:pt x="98" y="170"/>
                </a:cubicBezTo>
                <a:cubicBezTo>
                  <a:pt x="99" y="169"/>
                  <a:pt x="100" y="169"/>
                  <a:pt x="101" y="169"/>
                </a:cubicBezTo>
                <a:cubicBezTo>
                  <a:pt x="103" y="168"/>
                  <a:pt x="105" y="167"/>
                  <a:pt x="107" y="166"/>
                </a:cubicBezTo>
                <a:cubicBezTo>
                  <a:pt x="107" y="166"/>
                  <a:pt x="108" y="166"/>
                  <a:pt x="108" y="166"/>
                </a:cubicBezTo>
                <a:cubicBezTo>
                  <a:pt x="109" y="165"/>
                  <a:pt x="110" y="164"/>
                  <a:pt x="111" y="164"/>
                </a:cubicBezTo>
                <a:cubicBezTo>
                  <a:pt x="111" y="164"/>
                  <a:pt x="112" y="163"/>
                  <a:pt x="112" y="163"/>
                </a:cubicBezTo>
                <a:cubicBezTo>
                  <a:pt x="113" y="162"/>
                  <a:pt x="114" y="162"/>
                  <a:pt x="115" y="161"/>
                </a:cubicBezTo>
                <a:cubicBezTo>
                  <a:pt x="115" y="161"/>
                  <a:pt x="116" y="161"/>
                  <a:pt x="116" y="160"/>
                </a:cubicBezTo>
                <a:cubicBezTo>
                  <a:pt x="122" y="163"/>
                  <a:pt x="128" y="168"/>
                  <a:pt x="133" y="174"/>
                </a:cubicBezTo>
                <a:cubicBezTo>
                  <a:pt x="131" y="179"/>
                  <a:pt x="129" y="184"/>
                  <a:pt x="129" y="189"/>
                </a:cubicBezTo>
                <a:close/>
                <a:moveTo>
                  <a:pt x="318" y="288"/>
                </a:moveTo>
                <a:cubicBezTo>
                  <a:pt x="318" y="292"/>
                  <a:pt x="316" y="294"/>
                  <a:pt x="314" y="294"/>
                </a:cubicBezTo>
                <a:cubicBezTo>
                  <a:pt x="298" y="294"/>
                  <a:pt x="298" y="294"/>
                  <a:pt x="298" y="294"/>
                </a:cubicBezTo>
                <a:cubicBezTo>
                  <a:pt x="298" y="196"/>
                  <a:pt x="298" y="196"/>
                  <a:pt x="298" y="196"/>
                </a:cubicBezTo>
                <a:cubicBezTo>
                  <a:pt x="298" y="191"/>
                  <a:pt x="294" y="188"/>
                  <a:pt x="290" y="188"/>
                </a:cubicBezTo>
                <a:cubicBezTo>
                  <a:pt x="285" y="188"/>
                  <a:pt x="282" y="191"/>
                  <a:pt x="282" y="196"/>
                </a:cubicBezTo>
                <a:cubicBezTo>
                  <a:pt x="282" y="294"/>
                  <a:pt x="282" y="294"/>
                  <a:pt x="282" y="294"/>
                </a:cubicBezTo>
                <a:cubicBezTo>
                  <a:pt x="180" y="294"/>
                  <a:pt x="180" y="294"/>
                  <a:pt x="180" y="294"/>
                </a:cubicBezTo>
                <a:cubicBezTo>
                  <a:pt x="180" y="196"/>
                  <a:pt x="180" y="196"/>
                  <a:pt x="180" y="196"/>
                </a:cubicBezTo>
                <a:cubicBezTo>
                  <a:pt x="180" y="191"/>
                  <a:pt x="177" y="188"/>
                  <a:pt x="172" y="188"/>
                </a:cubicBezTo>
                <a:cubicBezTo>
                  <a:pt x="168" y="188"/>
                  <a:pt x="164" y="191"/>
                  <a:pt x="164" y="196"/>
                </a:cubicBezTo>
                <a:cubicBezTo>
                  <a:pt x="164" y="294"/>
                  <a:pt x="164" y="294"/>
                  <a:pt x="164" y="294"/>
                </a:cubicBezTo>
                <a:cubicBezTo>
                  <a:pt x="148" y="294"/>
                  <a:pt x="148" y="294"/>
                  <a:pt x="148" y="294"/>
                </a:cubicBezTo>
                <a:cubicBezTo>
                  <a:pt x="147" y="294"/>
                  <a:pt x="144" y="292"/>
                  <a:pt x="144" y="288"/>
                </a:cubicBezTo>
                <a:cubicBezTo>
                  <a:pt x="144" y="276"/>
                  <a:pt x="144" y="276"/>
                  <a:pt x="144" y="276"/>
                </a:cubicBezTo>
                <a:cubicBezTo>
                  <a:pt x="144" y="276"/>
                  <a:pt x="144" y="276"/>
                  <a:pt x="144" y="276"/>
                </a:cubicBezTo>
                <a:cubicBezTo>
                  <a:pt x="144" y="196"/>
                  <a:pt x="144" y="196"/>
                  <a:pt x="144" y="196"/>
                </a:cubicBezTo>
                <a:cubicBezTo>
                  <a:pt x="144" y="196"/>
                  <a:pt x="144" y="196"/>
                  <a:pt x="144" y="196"/>
                </a:cubicBezTo>
                <a:cubicBezTo>
                  <a:pt x="144" y="195"/>
                  <a:pt x="144" y="193"/>
                  <a:pt x="144" y="192"/>
                </a:cubicBezTo>
                <a:cubicBezTo>
                  <a:pt x="144" y="192"/>
                  <a:pt x="144" y="191"/>
                  <a:pt x="145" y="191"/>
                </a:cubicBezTo>
                <a:cubicBezTo>
                  <a:pt x="145" y="190"/>
                  <a:pt x="145" y="188"/>
                  <a:pt x="145" y="187"/>
                </a:cubicBezTo>
                <a:cubicBezTo>
                  <a:pt x="145" y="187"/>
                  <a:pt x="145" y="187"/>
                  <a:pt x="146" y="186"/>
                </a:cubicBezTo>
                <a:cubicBezTo>
                  <a:pt x="146" y="185"/>
                  <a:pt x="146" y="184"/>
                  <a:pt x="147" y="182"/>
                </a:cubicBezTo>
                <a:cubicBezTo>
                  <a:pt x="147" y="182"/>
                  <a:pt x="147" y="182"/>
                  <a:pt x="147" y="181"/>
                </a:cubicBezTo>
                <a:cubicBezTo>
                  <a:pt x="148" y="180"/>
                  <a:pt x="148" y="178"/>
                  <a:pt x="149" y="177"/>
                </a:cubicBezTo>
                <a:cubicBezTo>
                  <a:pt x="149" y="177"/>
                  <a:pt x="149" y="177"/>
                  <a:pt x="149" y="177"/>
                </a:cubicBezTo>
                <a:cubicBezTo>
                  <a:pt x="151" y="172"/>
                  <a:pt x="154" y="167"/>
                  <a:pt x="157" y="163"/>
                </a:cubicBezTo>
                <a:cubicBezTo>
                  <a:pt x="164" y="154"/>
                  <a:pt x="173" y="147"/>
                  <a:pt x="182" y="144"/>
                </a:cubicBezTo>
                <a:cubicBezTo>
                  <a:pt x="195" y="154"/>
                  <a:pt x="212" y="160"/>
                  <a:pt x="231" y="160"/>
                </a:cubicBezTo>
                <a:cubicBezTo>
                  <a:pt x="250" y="160"/>
                  <a:pt x="267" y="154"/>
                  <a:pt x="280" y="143"/>
                </a:cubicBezTo>
                <a:cubicBezTo>
                  <a:pt x="289" y="147"/>
                  <a:pt x="298" y="154"/>
                  <a:pt x="305" y="163"/>
                </a:cubicBezTo>
                <a:cubicBezTo>
                  <a:pt x="308" y="167"/>
                  <a:pt x="311" y="172"/>
                  <a:pt x="313" y="176"/>
                </a:cubicBezTo>
                <a:cubicBezTo>
                  <a:pt x="314" y="178"/>
                  <a:pt x="314" y="179"/>
                  <a:pt x="315" y="181"/>
                </a:cubicBezTo>
                <a:cubicBezTo>
                  <a:pt x="315" y="181"/>
                  <a:pt x="315" y="182"/>
                  <a:pt x="316" y="182"/>
                </a:cubicBezTo>
                <a:cubicBezTo>
                  <a:pt x="316" y="183"/>
                  <a:pt x="316" y="184"/>
                  <a:pt x="317" y="186"/>
                </a:cubicBezTo>
                <a:cubicBezTo>
                  <a:pt x="317" y="186"/>
                  <a:pt x="317" y="187"/>
                  <a:pt x="317" y="187"/>
                </a:cubicBezTo>
                <a:cubicBezTo>
                  <a:pt x="317" y="188"/>
                  <a:pt x="318" y="190"/>
                  <a:pt x="318" y="191"/>
                </a:cubicBezTo>
                <a:cubicBezTo>
                  <a:pt x="318" y="191"/>
                  <a:pt x="318" y="191"/>
                  <a:pt x="318" y="192"/>
                </a:cubicBezTo>
                <a:cubicBezTo>
                  <a:pt x="318" y="193"/>
                  <a:pt x="318" y="195"/>
                  <a:pt x="318" y="196"/>
                </a:cubicBezTo>
                <a:cubicBezTo>
                  <a:pt x="318" y="276"/>
                  <a:pt x="318" y="276"/>
                  <a:pt x="318" y="276"/>
                </a:cubicBezTo>
                <a:cubicBezTo>
                  <a:pt x="318" y="276"/>
                  <a:pt x="318" y="276"/>
                  <a:pt x="318" y="276"/>
                </a:cubicBezTo>
                <a:lnTo>
                  <a:pt x="318" y="288"/>
                </a:lnTo>
                <a:close/>
                <a:moveTo>
                  <a:pt x="382" y="65"/>
                </a:moveTo>
                <a:cubicBezTo>
                  <a:pt x="389" y="65"/>
                  <a:pt x="396" y="67"/>
                  <a:pt x="402" y="70"/>
                </a:cubicBezTo>
                <a:cubicBezTo>
                  <a:pt x="412" y="74"/>
                  <a:pt x="419" y="82"/>
                  <a:pt x="424" y="92"/>
                </a:cubicBezTo>
                <a:cubicBezTo>
                  <a:pt x="427" y="97"/>
                  <a:pt x="428" y="104"/>
                  <a:pt x="428" y="111"/>
                </a:cubicBezTo>
                <a:cubicBezTo>
                  <a:pt x="428" y="125"/>
                  <a:pt x="422" y="137"/>
                  <a:pt x="412" y="146"/>
                </a:cubicBezTo>
                <a:cubicBezTo>
                  <a:pt x="411" y="146"/>
                  <a:pt x="411" y="147"/>
                  <a:pt x="410" y="147"/>
                </a:cubicBezTo>
                <a:cubicBezTo>
                  <a:pt x="410" y="148"/>
                  <a:pt x="409" y="148"/>
                  <a:pt x="409" y="148"/>
                </a:cubicBezTo>
                <a:cubicBezTo>
                  <a:pt x="408" y="149"/>
                  <a:pt x="407" y="149"/>
                  <a:pt x="407" y="150"/>
                </a:cubicBezTo>
                <a:cubicBezTo>
                  <a:pt x="406" y="150"/>
                  <a:pt x="406" y="150"/>
                  <a:pt x="405" y="151"/>
                </a:cubicBezTo>
                <a:cubicBezTo>
                  <a:pt x="405" y="151"/>
                  <a:pt x="404" y="151"/>
                  <a:pt x="403" y="152"/>
                </a:cubicBezTo>
                <a:cubicBezTo>
                  <a:pt x="403" y="152"/>
                  <a:pt x="402" y="152"/>
                  <a:pt x="401" y="153"/>
                </a:cubicBezTo>
                <a:cubicBezTo>
                  <a:pt x="401" y="153"/>
                  <a:pt x="400" y="153"/>
                  <a:pt x="399" y="153"/>
                </a:cubicBezTo>
                <a:cubicBezTo>
                  <a:pt x="399" y="154"/>
                  <a:pt x="398" y="154"/>
                  <a:pt x="397" y="154"/>
                </a:cubicBezTo>
                <a:cubicBezTo>
                  <a:pt x="397" y="154"/>
                  <a:pt x="396" y="155"/>
                  <a:pt x="396" y="155"/>
                </a:cubicBezTo>
                <a:cubicBezTo>
                  <a:pt x="395" y="155"/>
                  <a:pt x="394" y="155"/>
                  <a:pt x="393" y="156"/>
                </a:cubicBezTo>
                <a:cubicBezTo>
                  <a:pt x="392" y="156"/>
                  <a:pt x="392" y="156"/>
                  <a:pt x="391" y="156"/>
                </a:cubicBezTo>
                <a:cubicBezTo>
                  <a:pt x="390" y="156"/>
                  <a:pt x="389" y="156"/>
                  <a:pt x="388" y="156"/>
                </a:cubicBezTo>
                <a:cubicBezTo>
                  <a:pt x="388" y="156"/>
                  <a:pt x="387" y="156"/>
                  <a:pt x="387" y="156"/>
                </a:cubicBezTo>
                <a:cubicBezTo>
                  <a:pt x="385" y="157"/>
                  <a:pt x="384" y="157"/>
                  <a:pt x="382" y="157"/>
                </a:cubicBezTo>
                <a:cubicBezTo>
                  <a:pt x="382" y="157"/>
                  <a:pt x="382" y="157"/>
                  <a:pt x="382" y="157"/>
                </a:cubicBezTo>
                <a:cubicBezTo>
                  <a:pt x="381" y="157"/>
                  <a:pt x="379" y="157"/>
                  <a:pt x="378" y="156"/>
                </a:cubicBezTo>
                <a:cubicBezTo>
                  <a:pt x="378" y="156"/>
                  <a:pt x="377" y="156"/>
                  <a:pt x="377" y="156"/>
                </a:cubicBezTo>
                <a:cubicBezTo>
                  <a:pt x="376" y="156"/>
                  <a:pt x="375" y="156"/>
                  <a:pt x="374" y="156"/>
                </a:cubicBezTo>
                <a:cubicBezTo>
                  <a:pt x="373" y="156"/>
                  <a:pt x="373" y="156"/>
                  <a:pt x="372" y="155"/>
                </a:cubicBezTo>
                <a:cubicBezTo>
                  <a:pt x="371" y="155"/>
                  <a:pt x="370" y="155"/>
                  <a:pt x="369" y="155"/>
                </a:cubicBezTo>
                <a:cubicBezTo>
                  <a:pt x="369" y="155"/>
                  <a:pt x="368" y="154"/>
                  <a:pt x="368" y="154"/>
                </a:cubicBezTo>
                <a:cubicBezTo>
                  <a:pt x="367" y="154"/>
                  <a:pt x="366" y="154"/>
                  <a:pt x="365" y="153"/>
                </a:cubicBezTo>
                <a:cubicBezTo>
                  <a:pt x="365" y="153"/>
                  <a:pt x="364" y="153"/>
                  <a:pt x="363" y="153"/>
                </a:cubicBezTo>
                <a:cubicBezTo>
                  <a:pt x="363" y="152"/>
                  <a:pt x="362" y="152"/>
                  <a:pt x="362" y="152"/>
                </a:cubicBezTo>
                <a:cubicBezTo>
                  <a:pt x="361" y="151"/>
                  <a:pt x="360" y="151"/>
                  <a:pt x="360" y="151"/>
                </a:cubicBezTo>
                <a:cubicBezTo>
                  <a:pt x="359" y="150"/>
                  <a:pt x="359" y="150"/>
                  <a:pt x="358" y="150"/>
                </a:cubicBezTo>
                <a:cubicBezTo>
                  <a:pt x="357" y="149"/>
                  <a:pt x="357" y="149"/>
                  <a:pt x="356" y="148"/>
                </a:cubicBezTo>
                <a:cubicBezTo>
                  <a:pt x="356" y="148"/>
                  <a:pt x="355" y="148"/>
                  <a:pt x="355" y="148"/>
                </a:cubicBezTo>
                <a:cubicBezTo>
                  <a:pt x="354" y="147"/>
                  <a:pt x="353" y="146"/>
                  <a:pt x="353" y="146"/>
                </a:cubicBezTo>
                <a:cubicBezTo>
                  <a:pt x="343" y="137"/>
                  <a:pt x="337" y="125"/>
                  <a:pt x="337" y="111"/>
                </a:cubicBezTo>
                <a:cubicBezTo>
                  <a:pt x="337" y="86"/>
                  <a:pt x="357" y="65"/>
                  <a:pt x="382" y="65"/>
                </a:cubicBezTo>
                <a:close/>
                <a:moveTo>
                  <a:pt x="445" y="266"/>
                </a:moveTo>
                <a:cubicBezTo>
                  <a:pt x="445" y="267"/>
                  <a:pt x="445" y="268"/>
                  <a:pt x="445" y="268"/>
                </a:cubicBezTo>
                <a:cubicBezTo>
                  <a:pt x="444" y="268"/>
                  <a:pt x="444" y="268"/>
                  <a:pt x="444" y="268"/>
                </a:cubicBezTo>
                <a:cubicBezTo>
                  <a:pt x="434" y="268"/>
                  <a:pt x="434" y="268"/>
                  <a:pt x="434" y="268"/>
                </a:cubicBezTo>
                <a:cubicBezTo>
                  <a:pt x="434" y="206"/>
                  <a:pt x="434" y="206"/>
                  <a:pt x="434" y="206"/>
                </a:cubicBezTo>
                <a:cubicBezTo>
                  <a:pt x="434" y="202"/>
                  <a:pt x="431" y="198"/>
                  <a:pt x="426" y="198"/>
                </a:cubicBezTo>
                <a:cubicBezTo>
                  <a:pt x="422" y="198"/>
                  <a:pt x="418" y="202"/>
                  <a:pt x="418" y="206"/>
                </a:cubicBezTo>
                <a:cubicBezTo>
                  <a:pt x="418" y="268"/>
                  <a:pt x="418" y="268"/>
                  <a:pt x="418" y="268"/>
                </a:cubicBezTo>
                <a:cubicBezTo>
                  <a:pt x="334" y="268"/>
                  <a:pt x="334" y="268"/>
                  <a:pt x="334" y="268"/>
                </a:cubicBezTo>
                <a:cubicBezTo>
                  <a:pt x="334" y="264"/>
                  <a:pt x="334" y="264"/>
                  <a:pt x="334" y="264"/>
                </a:cubicBezTo>
                <a:cubicBezTo>
                  <a:pt x="334" y="196"/>
                  <a:pt x="334" y="196"/>
                  <a:pt x="334" y="196"/>
                </a:cubicBezTo>
                <a:cubicBezTo>
                  <a:pt x="334" y="196"/>
                  <a:pt x="334" y="196"/>
                  <a:pt x="334" y="196"/>
                </a:cubicBezTo>
                <a:cubicBezTo>
                  <a:pt x="334" y="194"/>
                  <a:pt x="334" y="193"/>
                  <a:pt x="334" y="191"/>
                </a:cubicBezTo>
                <a:cubicBezTo>
                  <a:pt x="334" y="190"/>
                  <a:pt x="334" y="189"/>
                  <a:pt x="333" y="188"/>
                </a:cubicBezTo>
                <a:cubicBezTo>
                  <a:pt x="333" y="187"/>
                  <a:pt x="333" y="186"/>
                  <a:pt x="333" y="185"/>
                </a:cubicBezTo>
                <a:cubicBezTo>
                  <a:pt x="333" y="184"/>
                  <a:pt x="333" y="183"/>
                  <a:pt x="332" y="183"/>
                </a:cubicBezTo>
                <a:cubicBezTo>
                  <a:pt x="332" y="182"/>
                  <a:pt x="332" y="180"/>
                  <a:pt x="331" y="179"/>
                </a:cubicBezTo>
                <a:cubicBezTo>
                  <a:pt x="331" y="179"/>
                  <a:pt x="331" y="178"/>
                  <a:pt x="331" y="178"/>
                </a:cubicBezTo>
                <a:cubicBezTo>
                  <a:pt x="330" y="176"/>
                  <a:pt x="330" y="175"/>
                  <a:pt x="329" y="174"/>
                </a:cubicBezTo>
                <a:cubicBezTo>
                  <a:pt x="329" y="174"/>
                  <a:pt x="329" y="173"/>
                  <a:pt x="329" y="173"/>
                </a:cubicBezTo>
                <a:cubicBezTo>
                  <a:pt x="334" y="168"/>
                  <a:pt x="340" y="163"/>
                  <a:pt x="346" y="160"/>
                </a:cubicBezTo>
                <a:cubicBezTo>
                  <a:pt x="346" y="161"/>
                  <a:pt x="346" y="161"/>
                  <a:pt x="346" y="161"/>
                </a:cubicBezTo>
                <a:cubicBezTo>
                  <a:pt x="347" y="162"/>
                  <a:pt x="348" y="162"/>
                  <a:pt x="349" y="163"/>
                </a:cubicBezTo>
                <a:cubicBezTo>
                  <a:pt x="350" y="163"/>
                  <a:pt x="350" y="164"/>
                  <a:pt x="351" y="164"/>
                </a:cubicBezTo>
                <a:cubicBezTo>
                  <a:pt x="352" y="164"/>
                  <a:pt x="353" y="165"/>
                  <a:pt x="354" y="166"/>
                </a:cubicBezTo>
                <a:cubicBezTo>
                  <a:pt x="354" y="166"/>
                  <a:pt x="355" y="166"/>
                  <a:pt x="355" y="166"/>
                </a:cubicBezTo>
                <a:cubicBezTo>
                  <a:pt x="357" y="167"/>
                  <a:pt x="359" y="168"/>
                  <a:pt x="360" y="169"/>
                </a:cubicBezTo>
                <a:cubicBezTo>
                  <a:pt x="361" y="169"/>
                  <a:pt x="362" y="169"/>
                  <a:pt x="363" y="170"/>
                </a:cubicBezTo>
                <a:cubicBezTo>
                  <a:pt x="364" y="170"/>
                  <a:pt x="365" y="170"/>
                  <a:pt x="366" y="170"/>
                </a:cubicBezTo>
                <a:cubicBezTo>
                  <a:pt x="367" y="171"/>
                  <a:pt x="368" y="171"/>
                  <a:pt x="369" y="171"/>
                </a:cubicBezTo>
                <a:cubicBezTo>
                  <a:pt x="370" y="171"/>
                  <a:pt x="370" y="171"/>
                  <a:pt x="371" y="172"/>
                </a:cubicBezTo>
                <a:cubicBezTo>
                  <a:pt x="372" y="172"/>
                  <a:pt x="374" y="172"/>
                  <a:pt x="375" y="172"/>
                </a:cubicBezTo>
                <a:cubicBezTo>
                  <a:pt x="375" y="172"/>
                  <a:pt x="376" y="172"/>
                  <a:pt x="377" y="172"/>
                </a:cubicBezTo>
                <a:cubicBezTo>
                  <a:pt x="379" y="173"/>
                  <a:pt x="380" y="173"/>
                  <a:pt x="382" y="173"/>
                </a:cubicBezTo>
                <a:cubicBezTo>
                  <a:pt x="382" y="173"/>
                  <a:pt x="382" y="173"/>
                  <a:pt x="382" y="173"/>
                </a:cubicBezTo>
                <a:cubicBezTo>
                  <a:pt x="384" y="173"/>
                  <a:pt x="386" y="173"/>
                  <a:pt x="388" y="172"/>
                </a:cubicBezTo>
                <a:cubicBezTo>
                  <a:pt x="389" y="172"/>
                  <a:pt x="389" y="172"/>
                  <a:pt x="390" y="172"/>
                </a:cubicBezTo>
                <a:cubicBezTo>
                  <a:pt x="391" y="172"/>
                  <a:pt x="393" y="172"/>
                  <a:pt x="394" y="172"/>
                </a:cubicBezTo>
                <a:cubicBezTo>
                  <a:pt x="395" y="171"/>
                  <a:pt x="395" y="171"/>
                  <a:pt x="396" y="171"/>
                </a:cubicBezTo>
                <a:cubicBezTo>
                  <a:pt x="397" y="171"/>
                  <a:pt x="398" y="171"/>
                  <a:pt x="399" y="170"/>
                </a:cubicBezTo>
                <a:cubicBezTo>
                  <a:pt x="400" y="170"/>
                  <a:pt x="401" y="170"/>
                  <a:pt x="402" y="170"/>
                </a:cubicBezTo>
                <a:cubicBezTo>
                  <a:pt x="402" y="169"/>
                  <a:pt x="403" y="169"/>
                  <a:pt x="404" y="169"/>
                </a:cubicBezTo>
                <a:cubicBezTo>
                  <a:pt x="408" y="167"/>
                  <a:pt x="411" y="166"/>
                  <a:pt x="414" y="164"/>
                </a:cubicBezTo>
                <a:cubicBezTo>
                  <a:pt x="415" y="163"/>
                  <a:pt x="415" y="163"/>
                  <a:pt x="416" y="163"/>
                </a:cubicBezTo>
                <a:cubicBezTo>
                  <a:pt x="417" y="162"/>
                  <a:pt x="418" y="162"/>
                  <a:pt x="419" y="161"/>
                </a:cubicBezTo>
                <a:cubicBezTo>
                  <a:pt x="419" y="161"/>
                  <a:pt x="419" y="161"/>
                  <a:pt x="419" y="160"/>
                </a:cubicBezTo>
                <a:cubicBezTo>
                  <a:pt x="425" y="163"/>
                  <a:pt x="431" y="168"/>
                  <a:pt x="436" y="174"/>
                </a:cubicBezTo>
                <a:cubicBezTo>
                  <a:pt x="442" y="182"/>
                  <a:pt x="445" y="191"/>
                  <a:pt x="445" y="198"/>
                </a:cubicBezTo>
                <a:lnTo>
                  <a:pt x="445" y="26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MS PGothic" panose="020B0600070205080204" pitchFamily="34" charset="-128"/>
            </a:endParaRPr>
          </a:p>
        </p:txBody>
      </p:sp>
      <p:cxnSp>
        <p:nvCxnSpPr>
          <p:cNvPr id="166" name="Connector: Elbow 165">
            <a:extLst>
              <a:ext uri="{FF2B5EF4-FFF2-40B4-BE49-F238E27FC236}">
                <a16:creationId xmlns="" xmlns:a16="http://schemas.microsoft.com/office/drawing/2014/main" id="{8465F898-EC3A-43E6-ABE3-5A76A7FE1849}"/>
              </a:ext>
            </a:extLst>
          </p:cNvPr>
          <p:cNvCxnSpPr>
            <a:cxnSpLocks/>
          </p:cNvCxnSpPr>
          <p:nvPr/>
        </p:nvCxnSpPr>
        <p:spPr bwMode="auto">
          <a:xfrm rot="5400000">
            <a:off x="1115586" y="4401256"/>
            <a:ext cx="548765" cy="134469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rgbClr val="FFFFFF"/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67" name="Freeform 3">
            <a:extLst>
              <a:ext uri="{FF2B5EF4-FFF2-40B4-BE49-F238E27FC236}">
                <a16:creationId xmlns="" xmlns:a16="http://schemas.microsoft.com/office/drawing/2014/main" id="{7658AD2D-B128-4562-BFA8-D4D7DD4C2AD5}"/>
              </a:ext>
            </a:extLst>
          </p:cNvPr>
          <p:cNvSpPr>
            <a:spLocks noChangeAspect="1"/>
          </p:cNvSpPr>
          <p:nvPr/>
        </p:nvSpPr>
        <p:spPr bwMode="auto">
          <a:xfrm>
            <a:off x="9656197" y="3661145"/>
            <a:ext cx="813195" cy="515794"/>
          </a:xfrm>
          <a:custGeom>
            <a:avLst/>
            <a:gdLst>
              <a:gd name="T0" fmla="*/ 2147483646 w 462"/>
              <a:gd name="T1" fmla="*/ 2147483646 h 293"/>
              <a:gd name="T2" fmla="*/ 2147483646 w 462"/>
              <a:gd name="T3" fmla="*/ 2147483646 h 293"/>
              <a:gd name="T4" fmla="*/ 2147483646 w 462"/>
              <a:gd name="T5" fmla="*/ 2147483646 h 293"/>
              <a:gd name="T6" fmla="*/ 2147483646 w 462"/>
              <a:gd name="T7" fmla="*/ 2147483646 h 293"/>
              <a:gd name="T8" fmla="*/ 2147483646 w 462"/>
              <a:gd name="T9" fmla="*/ 2147483646 h 293"/>
              <a:gd name="T10" fmla="*/ 2147483646 w 462"/>
              <a:gd name="T11" fmla="*/ 2147483646 h 293"/>
              <a:gd name="T12" fmla="*/ 2147483646 w 462"/>
              <a:gd name="T13" fmla="*/ 2147483646 h 293"/>
              <a:gd name="T14" fmla="*/ 2147483646 w 462"/>
              <a:gd name="T15" fmla="*/ 2147483646 h 293"/>
              <a:gd name="T16" fmla="*/ 2147483646 w 462"/>
              <a:gd name="T17" fmla="*/ 2147483646 h 293"/>
              <a:gd name="T18" fmla="*/ 2147483646 w 462"/>
              <a:gd name="T19" fmla="*/ 2147483646 h 293"/>
              <a:gd name="T20" fmla="*/ 2147483646 w 462"/>
              <a:gd name="T21" fmla="*/ 2147483646 h 293"/>
              <a:gd name="T22" fmla="*/ 2147483646 w 462"/>
              <a:gd name="T23" fmla="*/ 2147483646 h 293"/>
              <a:gd name="T24" fmla="*/ 2147483646 w 462"/>
              <a:gd name="T25" fmla="*/ 2147483646 h 293"/>
              <a:gd name="T26" fmla="*/ 2147483646 w 462"/>
              <a:gd name="T27" fmla="*/ 2147483646 h 293"/>
              <a:gd name="T28" fmla="*/ 2147483646 w 462"/>
              <a:gd name="T29" fmla="*/ 2147483646 h 293"/>
              <a:gd name="T30" fmla="*/ 2147483646 w 462"/>
              <a:gd name="T31" fmla="*/ 2147483646 h 293"/>
              <a:gd name="T32" fmla="*/ 2147483646 w 462"/>
              <a:gd name="T33" fmla="*/ 2147483646 h 293"/>
              <a:gd name="T34" fmla="*/ 2147483646 w 462"/>
              <a:gd name="T35" fmla="*/ 2147483646 h 293"/>
              <a:gd name="T36" fmla="*/ 2147483646 w 462"/>
              <a:gd name="T37" fmla="*/ 2147483646 h 293"/>
              <a:gd name="T38" fmla="*/ 2147483646 w 462"/>
              <a:gd name="T39" fmla="*/ 2147483646 h 293"/>
              <a:gd name="T40" fmla="*/ 2147483646 w 462"/>
              <a:gd name="T41" fmla="*/ 2147483646 h 293"/>
              <a:gd name="T42" fmla="*/ 2147483646 w 462"/>
              <a:gd name="T43" fmla="*/ 2147483646 h 293"/>
              <a:gd name="T44" fmla="*/ 2147483646 w 462"/>
              <a:gd name="T45" fmla="*/ 2147483646 h 293"/>
              <a:gd name="T46" fmla="*/ 2147483646 w 462"/>
              <a:gd name="T47" fmla="*/ 2147483646 h 293"/>
              <a:gd name="T48" fmla="*/ 2147483646 w 462"/>
              <a:gd name="T49" fmla="*/ 2147483646 h 293"/>
              <a:gd name="T50" fmla="*/ 2147483646 w 462"/>
              <a:gd name="T51" fmla="*/ 2147483646 h 293"/>
              <a:gd name="T52" fmla="*/ 2147483646 w 462"/>
              <a:gd name="T53" fmla="*/ 0 h 293"/>
              <a:gd name="T54" fmla="*/ 2147483646 w 462"/>
              <a:gd name="T55" fmla="*/ 2147483646 h 293"/>
              <a:gd name="T56" fmla="*/ 0 w 462"/>
              <a:gd name="T57" fmla="*/ 2147483646 h 293"/>
              <a:gd name="T58" fmla="*/ 2147483646 w 462"/>
              <a:gd name="T59" fmla="*/ 2147483646 h 293"/>
              <a:gd name="T60" fmla="*/ 2147483646 w 462"/>
              <a:gd name="T61" fmla="*/ 2147483646 h 293"/>
              <a:gd name="T62" fmla="*/ 2147483646 w 462"/>
              <a:gd name="T63" fmla="*/ 2147483646 h 293"/>
              <a:gd name="T64" fmla="*/ 2147483646 w 462"/>
              <a:gd name="T65" fmla="*/ 2147483646 h 293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462" h="293">
                <a:moveTo>
                  <a:pt x="435" y="148"/>
                </a:moveTo>
                <a:cubicBezTo>
                  <a:pt x="437" y="140"/>
                  <a:pt x="439" y="132"/>
                  <a:pt x="439" y="123"/>
                </a:cubicBezTo>
                <a:cubicBezTo>
                  <a:pt x="439" y="104"/>
                  <a:pt x="433" y="86"/>
                  <a:pt x="422" y="70"/>
                </a:cubicBezTo>
                <a:cubicBezTo>
                  <a:pt x="420" y="67"/>
                  <a:pt x="415" y="66"/>
                  <a:pt x="411" y="68"/>
                </a:cubicBezTo>
                <a:cubicBezTo>
                  <a:pt x="407" y="71"/>
                  <a:pt x="406" y="76"/>
                  <a:pt x="409" y="79"/>
                </a:cubicBezTo>
                <a:cubicBezTo>
                  <a:pt x="418" y="92"/>
                  <a:pt x="423" y="108"/>
                  <a:pt x="423" y="123"/>
                </a:cubicBezTo>
                <a:cubicBezTo>
                  <a:pt x="423" y="132"/>
                  <a:pt x="421" y="140"/>
                  <a:pt x="419" y="148"/>
                </a:cubicBezTo>
                <a:cubicBezTo>
                  <a:pt x="418" y="151"/>
                  <a:pt x="419" y="154"/>
                  <a:pt x="421" y="156"/>
                </a:cubicBezTo>
                <a:cubicBezTo>
                  <a:pt x="437" y="170"/>
                  <a:pt x="446" y="189"/>
                  <a:pt x="446" y="209"/>
                </a:cubicBezTo>
                <a:cubicBezTo>
                  <a:pt x="446" y="247"/>
                  <a:pt x="415" y="277"/>
                  <a:pt x="378" y="277"/>
                </a:cubicBezTo>
                <a:cubicBezTo>
                  <a:pt x="88" y="277"/>
                  <a:pt x="88" y="277"/>
                  <a:pt x="88" y="277"/>
                </a:cubicBezTo>
                <a:cubicBezTo>
                  <a:pt x="48" y="277"/>
                  <a:pt x="16" y="245"/>
                  <a:pt x="16" y="206"/>
                </a:cubicBezTo>
                <a:cubicBezTo>
                  <a:pt x="16" y="178"/>
                  <a:pt x="31" y="154"/>
                  <a:pt x="56" y="141"/>
                </a:cubicBezTo>
                <a:cubicBezTo>
                  <a:pt x="59" y="140"/>
                  <a:pt x="60" y="137"/>
                  <a:pt x="60" y="134"/>
                </a:cubicBezTo>
                <a:cubicBezTo>
                  <a:pt x="60" y="134"/>
                  <a:pt x="60" y="133"/>
                  <a:pt x="60" y="133"/>
                </a:cubicBezTo>
                <a:cubicBezTo>
                  <a:pt x="60" y="69"/>
                  <a:pt x="113" y="16"/>
                  <a:pt x="178" y="16"/>
                </a:cubicBezTo>
                <a:cubicBezTo>
                  <a:pt x="217" y="16"/>
                  <a:pt x="254" y="36"/>
                  <a:pt x="276" y="68"/>
                </a:cubicBezTo>
                <a:cubicBezTo>
                  <a:pt x="277" y="70"/>
                  <a:pt x="279" y="72"/>
                  <a:pt x="282" y="72"/>
                </a:cubicBezTo>
                <a:cubicBezTo>
                  <a:pt x="284" y="72"/>
                  <a:pt x="287" y="71"/>
                  <a:pt x="288" y="70"/>
                </a:cubicBezTo>
                <a:cubicBezTo>
                  <a:pt x="288" y="70"/>
                  <a:pt x="289" y="69"/>
                  <a:pt x="289" y="69"/>
                </a:cubicBezTo>
                <a:cubicBezTo>
                  <a:pt x="290" y="68"/>
                  <a:pt x="309" y="45"/>
                  <a:pt x="344" y="45"/>
                </a:cubicBezTo>
                <a:cubicBezTo>
                  <a:pt x="360" y="45"/>
                  <a:pt x="375" y="50"/>
                  <a:pt x="388" y="59"/>
                </a:cubicBezTo>
                <a:cubicBezTo>
                  <a:pt x="392" y="61"/>
                  <a:pt x="397" y="60"/>
                  <a:pt x="399" y="56"/>
                </a:cubicBezTo>
                <a:cubicBezTo>
                  <a:pt x="402" y="53"/>
                  <a:pt x="401" y="48"/>
                  <a:pt x="397" y="45"/>
                </a:cubicBezTo>
                <a:cubicBezTo>
                  <a:pt x="381" y="35"/>
                  <a:pt x="363" y="29"/>
                  <a:pt x="344" y="29"/>
                </a:cubicBezTo>
                <a:cubicBezTo>
                  <a:pt x="314" y="29"/>
                  <a:pt x="294" y="43"/>
                  <a:pt x="284" y="52"/>
                </a:cubicBezTo>
                <a:cubicBezTo>
                  <a:pt x="258" y="19"/>
                  <a:pt x="220" y="0"/>
                  <a:pt x="178" y="0"/>
                </a:cubicBezTo>
                <a:cubicBezTo>
                  <a:pt x="106" y="0"/>
                  <a:pt x="47" y="58"/>
                  <a:pt x="44" y="129"/>
                </a:cubicBezTo>
                <a:cubicBezTo>
                  <a:pt x="17" y="145"/>
                  <a:pt x="0" y="174"/>
                  <a:pt x="0" y="206"/>
                </a:cubicBezTo>
                <a:cubicBezTo>
                  <a:pt x="0" y="254"/>
                  <a:pt x="39" y="293"/>
                  <a:pt x="88" y="293"/>
                </a:cubicBezTo>
                <a:cubicBezTo>
                  <a:pt x="378" y="293"/>
                  <a:pt x="378" y="293"/>
                  <a:pt x="378" y="293"/>
                </a:cubicBezTo>
                <a:cubicBezTo>
                  <a:pt x="424" y="293"/>
                  <a:pt x="462" y="256"/>
                  <a:pt x="462" y="209"/>
                </a:cubicBezTo>
                <a:cubicBezTo>
                  <a:pt x="462" y="186"/>
                  <a:pt x="452" y="164"/>
                  <a:pt x="435" y="14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168" name="Connector: Elbow 167">
            <a:extLst>
              <a:ext uri="{FF2B5EF4-FFF2-40B4-BE49-F238E27FC236}">
                <a16:creationId xmlns="" xmlns:a16="http://schemas.microsoft.com/office/drawing/2014/main" id="{7A74F7E9-109B-49A3-8E0C-9CF66326343E}"/>
              </a:ext>
            </a:extLst>
          </p:cNvPr>
          <p:cNvCxnSpPr>
            <a:cxnSpLocks/>
          </p:cNvCxnSpPr>
          <p:nvPr/>
        </p:nvCxnSpPr>
        <p:spPr bwMode="auto">
          <a:xfrm rot="16200000" flipH="1">
            <a:off x="1818961" y="4090858"/>
            <a:ext cx="365760" cy="548640"/>
          </a:xfrm>
          <a:prstGeom prst="bentConnector2">
            <a:avLst/>
          </a:prstGeom>
          <a:solidFill>
            <a:schemeClr val="accent1"/>
          </a:solidFill>
          <a:ln w="12700" cap="flat" cmpd="sng" algn="ctr">
            <a:solidFill>
              <a:srgbClr val="FFFFFF"/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70" name="Rectangle: Rounded Corners 169">
            <a:extLst>
              <a:ext uri="{FF2B5EF4-FFF2-40B4-BE49-F238E27FC236}">
                <a16:creationId xmlns="" xmlns:a16="http://schemas.microsoft.com/office/drawing/2014/main" id="{04B3EAE3-29A1-4C25-9F1D-349EAFCA3B3B}"/>
              </a:ext>
            </a:extLst>
          </p:cNvPr>
          <p:cNvSpPr/>
          <p:nvPr/>
        </p:nvSpPr>
        <p:spPr bwMode="auto">
          <a:xfrm>
            <a:off x="935754" y="4759315"/>
            <a:ext cx="779492" cy="515045"/>
          </a:xfrm>
          <a:prstGeom prst="roundRect">
            <a:avLst/>
          </a:prstGeom>
          <a:noFill/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80 km/h</a:t>
            </a:r>
          </a:p>
        </p:txBody>
      </p:sp>
      <p:cxnSp>
        <p:nvCxnSpPr>
          <p:cNvPr id="171" name="Straight Connector 170">
            <a:extLst>
              <a:ext uri="{FF2B5EF4-FFF2-40B4-BE49-F238E27FC236}">
                <a16:creationId xmlns="" xmlns:a16="http://schemas.microsoft.com/office/drawing/2014/main" id="{5E4E5A8F-9C4A-49F5-B95D-AD1F084D77D1}"/>
              </a:ext>
            </a:extLst>
          </p:cNvPr>
          <p:cNvCxnSpPr>
            <a:cxnSpLocks/>
            <a:stCxn id="170" idx="2"/>
          </p:cNvCxnSpPr>
          <p:nvPr/>
        </p:nvCxnSpPr>
        <p:spPr bwMode="auto">
          <a:xfrm flipH="1">
            <a:off x="1322734" y="5274360"/>
            <a:ext cx="2766" cy="310955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2" name="Straight Arrow Connector 171">
            <a:extLst>
              <a:ext uri="{FF2B5EF4-FFF2-40B4-BE49-F238E27FC236}">
                <a16:creationId xmlns="" xmlns:a16="http://schemas.microsoft.com/office/drawing/2014/main" id="{A7C63A1A-E927-40D5-AF51-FB2A388B8903}"/>
              </a:ext>
            </a:extLst>
          </p:cNvPr>
          <p:cNvCxnSpPr>
            <a:cxnSpLocks/>
          </p:cNvCxnSpPr>
          <p:nvPr/>
        </p:nvCxnSpPr>
        <p:spPr bwMode="auto">
          <a:xfrm>
            <a:off x="3469816" y="4215473"/>
            <a:ext cx="0" cy="914400"/>
          </a:xfrm>
          <a:prstGeom prst="straightConnector1">
            <a:avLst/>
          </a:prstGeom>
          <a:solidFill>
            <a:schemeClr val="accent1"/>
          </a:solidFill>
          <a:ln w="12700" cap="rnd" cmpd="sng" algn="ctr">
            <a:solidFill>
              <a:srgbClr val="FFFFFF"/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73" name="Straight Arrow Connector 172">
            <a:extLst>
              <a:ext uri="{FF2B5EF4-FFF2-40B4-BE49-F238E27FC236}">
                <a16:creationId xmlns="" xmlns:a16="http://schemas.microsoft.com/office/drawing/2014/main" id="{1D8905DF-E281-486A-87AC-37E22F3A0544}"/>
              </a:ext>
            </a:extLst>
          </p:cNvPr>
          <p:cNvCxnSpPr>
            <a:cxnSpLocks/>
          </p:cNvCxnSpPr>
          <p:nvPr/>
        </p:nvCxnSpPr>
        <p:spPr bwMode="auto">
          <a:xfrm>
            <a:off x="8378366" y="4215474"/>
            <a:ext cx="0" cy="640080"/>
          </a:xfrm>
          <a:prstGeom prst="straightConnector1">
            <a:avLst/>
          </a:prstGeom>
          <a:solidFill>
            <a:schemeClr val="accent1"/>
          </a:solidFill>
          <a:ln w="12700" cap="rnd" cmpd="sng" algn="ctr">
            <a:solidFill>
              <a:srgbClr val="FFFFFF"/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174" name="Straight Arrow Connector 173">
            <a:extLst>
              <a:ext uri="{FF2B5EF4-FFF2-40B4-BE49-F238E27FC236}">
                <a16:creationId xmlns="" xmlns:a16="http://schemas.microsoft.com/office/drawing/2014/main" id="{D8480079-85A9-47C5-B517-74D7805E4562}"/>
              </a:ext>
            </a:extLst>
          </p:cNvPr>
          <p:cNvCxnSpPr>
            <a:cxnSpLocks/>
          </p:cNvCxnSpPr>
          <p:nvPr/>
        </p:nvCxnSpPr>
        <p:spPr bwMode="auto">
          <a:xfrm>
            <a:off x="10068685" y="4215474"/>
            <a:ext cx="0" cy="640080"/>
          </a:xfrm>
          <a:prstGeom prst="straightConnector1">
            <a:avLst/>
          </a:prstGeom>
          <a:solidFill>
            <a:schemeClr val="accent1"/>
          </a:solidFill>
          <a:ln w="12700" cap="rnd" cmpd="sng" algn="ctr">
            <a:solidFill>
              <a:srgbClr val="FFFFFF"/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175" name="Freeform 35">
            <a:extLst>
              <a:ext uri="{FF2B5EF4-FFF2-40B4-BE49-F238E27FC236}">
                <a16:creationId xmlns="" xmlns:a16="http://schemas.microsoft.com/office/drawing/2014/main" id="{A7B1D90C-005E-44D9-82C2-748CF5E60DB7}"/>
              </a:ext>
            </a:extLst>
          </p:cNvPr>
          <p:cNvSpPr>
            <a:spLocks/>
          </p:cNvSpPr>
          <p:nvPr/>
        </p:nvSpPr>
        <p:spPr bwMode="auto">
          <a:xfrm>
            <a:off x="8587874" y="5128057"/>
            <a:ext cx="178861" cy="448232"/>
          </a:xfrm>
          <a:custGeom>
            <a:avLst/>
            <a:gdLst>
              <a:gd name="T0" fmla="*/ 105 w 149"/>
              <a:gd name="T1" fmla="*/ 16 h 411"/>
              <a:gd name="T2" fmla="*/ 25 w 149"/>
              <a:gd name="T3" fmla="*/ 95 h 411"/>
              <a:gd name="T4" fmla="*/ 0 w 149"/>
              <a:gd name="T5" fmla="*/ 154 h 411"/>
              <a:gd name="T6" fmla="*/ 0 w 149"/>
              <a:gd name="T7" fmla="*/ 411 h 411"/>
              <a:gd name="T8" fmla="*/ 149 w 149"/>
              <a:gd name="T9" fmla="*/ 411 h 411"/>
              <a:gd name="T10" fmla="*/ 149 w 149"/>
              <a:gd name="T11" fmla="*/ 34 h 411"/>
              <a:gd name="T12" fmla="*/ 105 w 149"/>
              <a:gd name="T13" fmla="*/ 16 h 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9" h="411">
                <a:moveTo>
                  <a:pt x="105" y="16"/>
                </a:moveTo>
                <a:cubicBezTo>
                  <a:pt x="25" y="95"/>
                  <a:pt x="25" y="95"/>
                  <a:pt x="25" y="95"/>
                </a:cubicBezTo>
                <a:cubicBezTo>
                  <a:pt x="9" y="110"/>
                  <a:pt x="0" y="132"/>
                  <a:pt x="0" y="154"/>
                </a:cubicBezTo>
                <a:cubicBezTo>
                  <a:pt x="0" y="411"/>
                  <a:pt x="0" y="411"/>
                  <a:pt x="0" y="411"/>
                </a:cubicBezTo>
                <a:cubicBezTo>
                  <a:pt x="149" y="411"/>
                  <a:pt x="149" y="411"/>
                  <a:pt x="149" y="411"/>
                </a:cubicBezTo>
                <a:cubicBezTo>
                  <a:pt x="149" y="34"/>
                  <a:pt x="149" y="34"/>
                  <a:pt x="149" y="34"/>
                </a:cubicBezTo>
                <a:cubicBezTo>
                  <a:pt x="149" y="12"/>
                  <a:pt x="121" y="0"/>
                  <a:pt x="105" y="16"/>
                </a:cubicBezTo>
                <a:close/>
              </a:path>
            </a:pathLst>
          </a:custGeom>
          <a:solidFill>
            <a:srgbClr val="2E427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pSp>
        <p:nvGrpSpPr>
          <p:cNvPr id="176" name="Group 175">
            <a:extLst>
              <a:ext uri="{FF2B5EF4-FFF2-40B4-BE49-F238E27FC236}">
                <a16:creationId xmlns="" xmlns:a16="http://schemas.microsoft.com/office/drawing/2014/main" id="{120C881F-8B8A-4AE3-9803-47D47DD20F52}"/>
              </a:ext>
            </a:extLst>
          </p:cNvPr>
          <p:cNvGrpSpPr/>
          <p:nvPr/>
        </p:nvGrpSpPr>
        <p:grpSpPr>
          <a:xfrm>
            <a:off x="9103880" y="4768038"/>
            <a:ext cx="191524" cy="803949"/>
            <a:chOff x="-8156242" y="3330580"/>
            <a:chExt cx="384176" cy="1779591"/>
          </a:xfrm>
          <a:solidFill>
            <a:srgbClr val="000000">
              <a:alpha val="10196"/>
            </a:srgbClr>
          </a:solidFill>
        </p:grpSpPr>
        <p:sp>
          <p:nvSpPr>
            <p:cNvPr id="177" name="Freeform 37">
              <a:extLst>
                <a:ext uri="{FF2B5EF4-FFF2-40B4-BE49-F238E27FC236}">
                  <a16:creationId xmlns="" xmlns:a16="http://schemas.microsoft.com/office/drawing/2014/main" id="{F1C7314D-533D-4DA6-803A-6CE89E1129E5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6242" y="3330580"/>
              <a:ext cx="384176" cy="53975"/>
            </a:xfrm>
            <a:custGeom>
              <a:avLst/>
              <a:gdLst>
                <a:gd name="T0" fmla="*/ 149 w 160"/>
                <a:gd name="T1" fmla="*/ 0 h 22"/>
                <a:gd name="T2" fmla="*/ 11 w 160"/>
                <a:gd name="T3" fmla="*/ 0 h 22"/>
                <a:gd name="T4" fmla="*/ 0 w 160"/>
                <a:gd name="T5" fmla="*/ 11 h 22"/>
                <a:gd name="T6" fmla="*/ 11 w 160"/>
                <a:gd name="T7" fmla="*/ 22 h 22"/>
                <a:gd name="T8" fmla="*/ 149 w 160"/>
                <a:gd name="T9" fmla="*/ 22 h 22"/>
                <a:gd name="T10" fmla="*/ 160 w 160"/>
                <a:gd name="T11" fmla="*/ 11 h 22"/>
                <a:gd name="T12" fmla="*/ 149 w 16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">
                  <a:moveTo>
                    <a:pt x="14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5" y="22"/>
                    <a:pt x="160" y="17"/>
                    <a:pt x="160" y="11"/>
                  </a:cubicBezTo>
                  <a:cubicBezTo>
                    <a:pt x="160" y="5"/>
                    <a:pt x="155" y="0"/>
                    <a:pt x="149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78" name="Freeform 38">
              <a:extLst>
                <a:ext uri="{FF2B5EF4-FFF2-40B4-BE49-F238E27FC236}">
                  <a16:creationId xmlns="" xmlns:a16="http://schemas.microsoft.com/office/drawing/2014/main" id="{118F5439-7597-4A56-B44A-A007DF364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6242" y="3446468"/>
              <a:ext cx="384176" cy="53975"/>
            </a:xfrm>
            <a:custGeom>
              <a:avLst/>
              <a:gdLst>
                <a:gd name="T0" fmla="*/ 149 w 160"/>
                <a:gd name="T1" fmla="*/ 0 h 22"/>
                <a:gd name="T2" fmla="*/ 11 w 160"/>
                <a:gd name="T3" fmla="*/ 0 h 22"/>
                <a:gd name="T4" fmla="*/ 0 w 160"/>
                <a:gd name="T5" fmla="*/ 11 h 22"/>
                <a:gd name="T6" fmla="*/ 11 w 160"/>
                <a:gd name="T7" fmla="*/ 22 h 22"/>
                <a:gd name="T8" fmla="*/ 149 w 160"/>
                <a:gd name="T9" fmla="*/ 22 h 22"/>
                <a:gd name="T10" fmla="*/ 160 w 160"/>
                <a:gd name="T11" fmla="*/ 11 h 22"/>
                <a:gd name="T12" fmla="*/ 149 w 16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">
                  <a:moveTo>
                    <a:pt x="14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5" y="22"/>
                    <a:pt x="160" y="17"/>
                    <a:pt x="160" y="11"/>
                  </a:cubicBezTo>
                  <a:cubicBezTo>
                    <a:pt x="160" y="5"/>
                    <a:pt x="155" y="0"/>
                    <a:pt x="149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79" name="Freeform 39">
              <a:extLst>
                <a:ext uri="{FF2B5EF4-FFF2-40B4-BE49-F238E27FC236}">
                  <a16:creationId xmlns="" xmlns:a16="http://schemas.microsoft.com/office/drawing/2014/main" id="{B77665AB-D099-44C8-ADC9-A822AE2AF0BD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6242" y="3560768"/>
              <a:ext cx="384176" cy="52388"/>
            </a:xfrm>
            <a:custGeom>
              <a:avLst/>
              <a:gdLst>
                <a:gd name="T0" fmla="*/ 149 w 160"/>
                <a:gd name="T1" fmla="*/ 0 h 22"/>
                <a:gd name="T2" fmla="*/ 11 w 160"/>
                <a:gd name="T3" fmla="*/ 0 h 22"/>
                <a:gd name="T4" fmla="*/ 0 w 160"/>
                <a:gd name="T5" fmla="*/ 11 h 22"/>
                <a:gd name="T6" fmla="*/ 11 w 160"/>
                <a:gd name="T7" fmla="*/ 22 h 22"/>
                <a:gd name="T8" fmla="*/ 149 w 160"/>
                <a:gd name="T9" fmla="*/ 22 h 22"/>
                <a:gd name="T10" fmla="*/ 160 w 160"/>
                <a:gd name="T11" fmla="*/ 11 h 22"/>
                <a:gd name="T12" fmla="*/ 149 w 16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">
                  <a:moveTo>
                    <a:pt x="14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5" y="22"/>
                    <a:pt x="160" y="17"/>
                    <a:pt x="160" y="11"/>
                  </a:cubicBezTo>
                  <a:cubicBezTo>
                    <a:pt x="160" y="5"/>
                    <a:pt x="155" y="0"/>
                    <a:pt x="149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80" name="Freeform 40">
              <a:extLst>
                <a:ext uri="{FF2B5EF4-FFF2-40B4-BE49-F238E27FC236}">
                  <a16:creationId xmlns="" xmlns:a16="http://schemas.microsoft.com/office/drawing/2014/main" id="{9304241D-2823-4552-93A5-E267BAA46993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6242" y="3676655"/>
              <a:ext cx="384176" cy="52388"/>
            </a:xfrm>
            <a:custGeom>
              <a:avLst/>
              <a:gdLst>
                <a:gd name="T0" fmla="*/ 149 w 160"/>
                <a:gd name="T1" fmla="*/ 0 h 22"/>
                <a:gd name="T2" fmla="*/ 11 w 160"/>
                <a:gd name="T3" fmla="*/ 0 h 22"/>
                <a:gd name="T4" fmla="*/ 0 w 160"/>
                <a:gd name="T5" fmla="*/ 11 h 22"/>
                <a:gd name="T6" fmla="*/ 11 w 160"/>
                <a:gd name="T7" fmla="*/ 22 h 22"/>
                <a:gd name="T8" fmla="*/ 149 w 160"/>
                <a:gd name="T9" fmla="*/ 22 h 22"/>
                <a:gd name="T10" fmla="*/ 160 w 160"/>
                <a:gd name="T11" fmla="*/ 11 h 22"/>
                <a:gd name="T12" fmla="*/ 149 w 16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">
                  <a:moveTo>
                    <a:pt x="14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5" y="22"/>
                    <a:pt x="160" y="17"/>
                    <a:pt x="160" y="11"/>
                  </a:cubicBezTo>
                  <a:cubicBezTo>
                    <a:pt x="160" y="5"/>
                    <a:pt x="155" y="0"/>
                    <a:pt x="149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81" name="Freeform 41">
              <a:extLst>
                <a:ext uri="{FF2B5EF4-FFF2-40B4-BE49-F238E27FC236}">
                  <a16:creationId xmlns="" xmlns:a16="http://schemas.microsoft.com/office/drawing/2014/main" id="{640CDBFE-E688-46DA-959E-422B57BA661F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6242" y="3792543"/>
              <a:ext cx="384176" cy="52388"/>
            </a:xfrm>
            <a:custGeom>
              <a:avLst/>
              <a:gdLst>
                <a:gd name="T0" fmla="*/ 149 w 160"/>
                <a:gd name="T1" fmla="*/ 0 h 22"/>
                <a:gd name="T2" fmla="*/ 11 w 160"/>
                <a:gd name="T3" fmla="*/ 0 h 22"/>
                <a:gd name="T4" fmla="*/ 0 w 160"/>
                <a:gd name="T5" fmla="*/ 11 h 22"/>
                <a:gd name="T6" fmla="*/ 11 w 160"/>
                <a:gd name="T7" fmla="*/ 22 h 22"/>
                <a:gd name="T8" fmla="*/ 149 w 160"/>
                <a:gd name="T9" fmla="*/ 22 h 22"/>
                <a:gd name="T10" fmla="*/ 160 w 160"/>
                <a:gd name="T11" fmla="*/ 11 h 22"/>
                <a:gd name="T12" fmla="*/ 149 w 16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">
                  <a:moveTo>
                    <a:pt x="14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5" y="22"/>
                    <a:pt x="160" y="17"/>
                    <a:pt x="160" y="11"/>
                  </a:cubicBezTo>
                  <a:cubicBezTo>
                    <a:pt x="160" y="5"/>
                    <a:pt x="155" y="0"/>
                    <a:pt x="149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82" name="Freeform 42">
              <a:extLst>
                <a:ext uri="{FF2B5EF4-FFF2-40B4-BE49-F238E27FC236}">
                  <a16:creationId xmlns="" xmlns:a16="http://schemas.microsoft.com/office/drawing/2014/main" id="{B78DCD0B-C93B-4CA3-B9FD-5426C2C80937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6242" y="3905256"/>
              <a:ext cx="384176" cy="53975"/>
            </a:xfrm>
            <a:custGeom>
              <a:avLst/>
              <a:gdLst>
                <a:gd name="T0" fmla="*/ 149 w 160"/>
                <a:gd name="T1" fmla="*/ 0 h 22"/>
                <a:gd name="T2" fmla="*/ 11 w 160"/>
                <a:gd name="T3" fmla="*/ 0 h 22"/>
                <a:gd name="T4" fmla="*/ 0 w 160"/>
                <a:gd name="T5" fmla="*/ 11 h 22"/>
                <a:gd name="T6" fmla="*/ 11 w 160"/>
                <a:gd name="T7" fmla="*/ 22 h 22"/>
                <a:gd name="T8" fmla="*/ 149 w 160"/>
                <a:gd name="T9" fmla="*/ 22 h 22"/>
                <a:gd name="T10" fmla="*/ 160 w 160"/>
                <a:gd name="T11" fmla="*/ 11 h 22"/>
                <a:gd name="T12" fmla="*/ 149 w 16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">
                  <a:moveTo>
                    <a:pt x="14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5" y="22"/>
                    <a:pt x="160" y="17"/>
                    <a:pt x="160" y="11"/>
                  </a:cubicBezTo>
                  <a:cubicBezTo>
                    <a:pt x="160" y="5"/>
                    <a:pt x="155" y="0"/>
                    <a:pt x="149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83" name="Freeform 43">
              <a:extLst>
                <a:ext uri="{FF2B5EF4-FFF2-40B4-BE49-F238E27FC236}">
                  <a16:creationId xmlns="" xmlns:a16="http://schemas.microsoft.com/office/drawing/2014/main" id="{61FE2A1F-32B6-4AB0-BBC0-84682DEF0059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6242" y="4021144"/>
              <a:ext cx="384176" cy="53975"/>
            </a:xfrm>
            <a:custGeom>
              <a:avLst/>
              <a:gdLst>
                <a:gd name="T0" fmla="*/ 149 w 160"/>
                <a:gd name="T1" fmla="*/ 0 h 22"/>
                <a:gd name="T2" fmla="*/ 11 w 160"/>
                <a:gd name="T3" fmla="*/ 0 h 22"/>
                <a:gd name="T4" fmla="*/ 0 w 160"/>
                <a:gd name="T5" fmla="*/ 11 h 22"/>
                <a:gd name="T6" fmla="*/ 11 w 160"/>
                <a:gd name="T7" fmla="*/ 22 h 22"/>
                <a:gd name="T8" fmla="*/ 149 w 160"/>
                <a:gd name="T9" fmla="*/ 22 h 22"/>
                <a:gd name="T10" fmla="*/ 160 w 160"/>
                <a:gd name="T11" fmla="*/ 11 h 22"/>
                <a:gd name="T12" fmla="*/ 149 w 16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">
                  <a:moveTo>
                    <a:pt x="14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5" y="22"/>
                    <a:pt x="160" y="17"/>
                    <a:pt x="160" y="11"/>
                  </a:cubicBezTo>
                  <a:cubicBezTo>
                    <a:pt x="160" y="5"/>
                    <a:pt x="155" y="0"/>
                    <a:pt x="149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84" name="Freeform 44">
              <a:extLst>
                <a:ext uri="{FF2B5EF4-FFF2-40B4-BE49-F238E27FC236}">
                  <a16:creationId xmlns="" xmlns:a16="http://schemas.microsoft.com/office/drawing/2014/main" id="{13A8A548-4530-404D-9E6F-AF340E03781D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6242" y="4137031"/>
              <a:ext cx="384176" cy="53975"/>
            </a:xfrm>
            <a:custGeom>
              <a:avLst/>
              <a:gdLst>
                <a:gd name="T0" fmla="*/ 149 w 160"/>
                <a:gd name="T1" fmla="*/ 0 h 22"/>
                <a:gd name="T2" fmla="*/ 11 w 160"/>
                <a:gd name="T3" fmla="*/ 0 h 22"/>
                <a:gd name="T4" fmla="*/ 0 w 160"/>
                <a:gd name="T5" fmla="*/ 11 h 22"/>
                <a:gd name="T6" fmla="*/ 11 w 160"/>
                <a:gd name="T7" fmla="*/ 22 h 22"/>
                <a:gd name="T8" fmla="*/ 149 w 160"/>
                <a:gd name="T9" fmla="*/ 22 h 22"/>
                <a:gd name="T10" fmla="*/ 160 w 160"/>
                <a:gd name="T11" fmla="*/ 11 h 22"/>
                <a:gd name="T12" fmla="*/ 149 w 16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">
                  <a:moveTo>
                    <a:pt x="14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5" y="22"/>
                    <a:pt x="160" y="17"/>
                    <a:pt x="160" y="11"/>
                  </a:cubicBezTo>
                  <a:cubicBezTo>
                    <a:pt x="160" y="5"/>
                    <a:pt x="155" y="0"/>
                    <a:pt x="149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85" name="Freeform 45">
              <a:extLst>
                <a:ext uri="{FF2B5EF4-FFF2-40B4-BE49-F238E27FC236}">
                  <a16:creationId xmlns="" xmlns:a16="http://schemas.microsoft.com/office/drawing/2014/main" id="{347F3ED9-F9A8-445D-AB45-00891FA65C59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6242" y="4251331"/>
              <a:ext cx="384176" cy="52388"/>
            </a:xfrm>
            <a:custGeom>
              <a:avLst/>
              <a:gdLst>
                <a:gd name="T0" fmla="*/ 149 w 160"/>
                <a:gd name="T1" fmla="*/ 0 h 22"/>
                <a:gd name="T2" fmla="*/ 11 w 160"/>
                <a:gd name="T3" fmla="*/ 0 h 22"/>
                <a:gd name="T4" fmla="*/ 0 w 160"/>
                <a:gd name="T5" fmla="*/ 11 h 22"/>
                <a:gd name="T6" fmla="*/ 11 w 160"/>
                <a:gd name="T7" fmla="*/ 22 h 22"/>
                <a:gd name="T8" fmla="*/ 149 w 160"/>
                <a:gd name="T9" fmla="*/ 22 h 22"/>
                <a:gd name="T10" fmla="*/ 160 w 160"/>
                <a:gd name="T11" fmla="*/ 11 h 22"/>
                <a:gd name="T12" fmla="*/ 149 w 16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">
                  <a:moveTo>
                    <a:pt x="14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5" y="22"/>
                    <a:pt x="160" y="17"/>
                    <a:pt x="160" y="11"/>
                  </a:cubicBezTo>
                  <a:cubicBezTo>
                    <a:pt x="160" y="5"/>
                    <a:pt x="155" y="0"/>
                    <a:pt x="149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86" name="Freeform 46">
              <a:extLst>
                <a:ext uri="{FF2B5EF4-FFF2-40B4-BE49-F238E27FC236}">
                  <a16:creationId xmlns="" xmlns:a16="http://schemas.microsoft.com/office/drawing/2014/main" id="{740626A8-727E-4EE8-8FA8-DEFE67885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6242" y="4367219"/>
              <a:ext cx="384176" cy="52388"/>
            </a:xfrm>
            <a:custGeom>
              <a:avLst/>
              <a:gdLst>
                <a:gd name="T0" fmla="*/ 149 w 160"/>
                <a:gd name="T1" fmla="*/ 0 h 22"/>
                <a:gd name="T2" fmla="*/ 11 w 160"/>
                <a:gd name="T3" fmla="*/ 0 h 22"/>
                <a:gd name="T4" fmla="*/ 0 w 160"/>
                <a:gd name="T5" fmla="*/ 11 h 22"/>
                <a:gd name="T6" fmla="*/ 11 w 160"/>
                <a:gd name="T7" fmla="*/ 22 h 22"/>
                <a:gd name="T8" fmla="*/ 149 w 160"/>
                <a:gd name="T9" fmla="*/ 22 h 22"/>
                <a:gd name="T10" fmla="*/ 160 w 160"/>
                <a:gd name="T11" fmla="*/ 11 h 22"/>
                <a:gd name="T12" fmla="*/ 149 w 16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">
                  <a:moveTo>
                    <a:pt x="14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5" y="22"/>
                    <a:pt x="160" y="17"/>
                    <a:pt x="160" y="11"/>
                  </a:cubicBezTo>
                  <a:cubicBezTo>
                    <a:pt x="160" y="5"/>
                    <a:pt x="155" y="0"/>
                    <a:pt x="149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87" name="Freeform 47">
              <a:extLst>
                <a:ext uri="{FF2B5EF4-FFF2-40B4-BE49-F238E27FC236}">
                  <a16:creationId xmlns="" xmlns:a16="http://schemas.microsoft.com/office/drawing/2014/main" id="{B241498C-9044-4B7F-A4E5-76503233B5EF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6242" y="4483107"/>
              <a:ext cx="384176" cy="52388"/>
            </a:xfrm>
            <a:custGeom>
              <a:avLst/>
              <a:gdLst>
                <a:gd name="T0" fmla="*/ 149 w 160"/>
                <a:gd name="T1" fmla="*/ 0 h 22"/>
                <a:gd name="T2" fmla="*/ 11 w 160"/>
                <a:gd name="T3" fmla="*/ 0 h 22"/>
                <a:gd name="T4" fmla="*/ 0 w 160"/>
                <a:gd name="T5" fmla="*/ 11 h 22"/>
                <a:gd name="T6" fmla="*/ 11 w 160"/>
                <a:gd name="T7" fmla="*/ 22 h 22"/>
                <a:gd name="T8" fmla="*/ 149 w 160"/>
                <a:gd name="T9" fmla="*/ 22 h 22"/>
                <a:gd name="T10" fmla="*/ 160 w 160"/>
                <a:gd name="T11" fmla="*/ 11 h 22"/>
                <a:gd name="T12" fmla="*/ 149 w 16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">
                  <a:moveTo>
                    <a:pt x="14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5" y="22"/>
                    <a:pt x="160" y="17"/>
                    <a:pt x="160" y="11"/>
                  </a:cubicBezTo>
                  <a:cubicBezTo>
                    <a:pt x="160" y="5"/>
                    <a:pt x="155" y="0"/>
                    <a:pt x="149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88" name="Freeform 48">
              <a:extLst>
                <a:ext uri="{FF2B5EF4-FFF2-40B4-BE49-F238E27FC236}">
                  <a16:creationId xmlns="" xmlns:a16="http://schemas.microsoft.com/office/drawing/2014/main" id="{0F096513-A242-4EC7-97FC-D2C66AE4C445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6242" y="4595820"/>
              <a:ext cx="384176" cy="53975"/>
            </a:xfrm>
            <a:custGeom>
              <a:avLst/>
              <a:gdLst>
                <a:gd name="T0" fmla="*/ 149 w 160"/>
                <a:gd name="T1" fmla="*/ 0 h 22"/>
                <a:gd name="T2" fmla="*/ 11 w 160"/>
                <a:gd name="T3" fmla="*/ 0 h 22"/>
                <a:gd name="T4" fmla="*/ 0 w 160"/>
                <a:gd name="T5" fmla="*/ 11 h 22"/>
                <a:gd name="T6" fmla="*/ 11 w 160"/>
                <a:gd name="T7" fmla="*/ 22 h 22"/>
                <a:gd name="T8" fmla="*/ 149 w 160"/>
                <a:gd name="T9" fmla="*/ 22 h 22"/>
                <a:gd name="T10" fmla="*/ 160 w 160"/>
                <a:gd name="T11" fmla="*/ 11 h 22"/>
                <a:gd name="T12" fmla="*/ 149 w 16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">
                  <a:moveTo>
                    <a:pt x="14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5" y="22"/>
                    <a:pt x="160" y="17"/>
                    <a:pt x="160" y="11"/>
                  </a:cubicBezTo>
                  <a:cubicBezTo>
                    <a:pt x="160" y="5"/>
                    <a:pt x="155" y="0"/>
                    <a:pt x="149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89" name="Freeform 49">
              <a:extLst>
                <a:ext uri="{FF2B5EF4-FFF2-40B4-BE49-F238E27FC236}">
                  <a16:creationId xmlns="" xmlns:a16="http://schemas.microsoft.com/office/drawing/2014/main" id="{B25E4F12-B331-4CA5-9DA9-D0372FAD037B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6242" y="4711707"/>
              <a:ext cx="384176" cy="53975"/>
            </a:xfrm>
            <a:custGeom>
              <a:avLst/>
              <a:gdLst>
                <a:gd name="T0" fmla="*/ 149 w 160"/>
                <a:gd name="T1" fmla="*/ 0 h 22"/>
                <a:gd name="T2" fmla="*/ 11 w 160"/>
                <a:gd name="T3" fmla="*/ 0 h 22"/>
                <a:gd name="T4" fmla="*/ 0 w 160"/>
                <a:gd name="T5" fmla="*/ 11 h 22"/>
                <a:gd name="T6" fmla="*/ 11 w 160"/>
                <a:gd name="T7" fmla="*/ 22 h 22"/>
                <a:gd name="T8" fmla="*/ 149 w 160"/>
                <a:gd name="T9" fmla="*/ 22 h 22"/>
                <a:gd name="T10" fmla="*/ 160 w 160"/>
                <a:gd name="T11" fmla="*/ 11 h 22"/>
                <a:gd name="T12" fmla="*/ 149 w 16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">
                  <a:moveTo>
                    <a:pt x="14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5" y="22"/>
                    <a:pt x="160" y="17"/>
                    <a:pt x="160" y="11"/>
                  </a:cubicBezTo>
                  <a:cubicBezTo>
                    <a:pt x="160" y="5"/>
                    <a:pt x="155" y="0"/>
                    <a:pt x="149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90" name="Freeform 50">
              <a:extLst>
                <a:ext uri="{FF2B5EF4-FFF2-40B4-BE49-F238E27FC236}">
                  <a16:creationId xmlns="" xmlns:a16="http://schemas.microsoft.com/office/drawing/2014/main" id="{AD1F8050-0213-4679-A82D-EFFC7DFE0022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6242" y="4827595"/>
              <a:ext cx="384176" cy="53975"/>
            </a:xfrm>
            <a:custGeom>
              <a:avLst/>
              <a:gdLst>
                <a:gd name="T0" fmla="*/ 149 w 160"/>
                <a:gd name="T1" fmla="*/ 0 h 22"/>
                <a:gd name="T2" fmla="*/ 11 w 160"/>
                <a:gd name="T3" fmla="*/ 0 h 22"/>
                <a:gd name="T4" fmla="*/ 0 w 160"/>
                <a:gd name="T5" fmla="*/ 11 h 22"/>
                <a:gd name="T6" fmla="*/ 11 w 160"/>
                <a:gd name="T7" fmla="*/ 22 h 22"/>
                <a:gd name="T8" fmla="*/ 149 w 160"/>
                <a:gd name="T9" fmla="*/ 22 h 22"/>
                <a:gd name="T10" fmla="*/ 160 w 160"/>
                <a:gd name="T11" fmla="*/ 11 h 22"/>
                <a:gd name="T12" fmla="*/ 149 w 16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">
                  <a:moveTo>
                    <a:pt x="14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5" y="22"/>
                    <a:pt x="160" y="17"/>
                    <a:pt x="160" y="11"/>
                  </a:cubicBezTo>
                  <a:cubicBezTo>
                    <a:pt x="160" y="5"/>
                    <a:pt x="155" y="0"/>
                    <a:pt x="149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91" name="Freeform 51">
              <a:extLst>
                <a:ext uri="{FF2B5EF4-FFF2-40B4-BE49-F238E27FC236}">
                  <a16:creationId xmlns="" xmlns:a16="http://schemas.microsoft.com/office/drawing/2014/main" id="{A4D05BC0-7FCF-4351-9C1A-542A09B1E096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6242" y="4941895"/>
              <a:ext cx="384176" cy="52388"/>
            </a:xfrm>
            <a:custGeom>
              <a:avLst/>
              <a:gdLst>
                <a:gd name="T0" fmla="*/ 149 w 160"/>
                <a:gd name="T1" fmla="*/ 0 h 22"/>
                <a:gd name="T2" fmla="*/ 11 w 160"/>
                <a:gd name="T3" fmla="*/ 0 h 22"/>
                <a:gd name="T4" fmla="*/ 0 w 160"/>
                <a:gd name="T5" fmla="*/ 11 h 22"/>
                <a:gd name="T6" fmla="*/ 11 w 160"/>
                <a:gd name="T7" fmla="*/ 22 h 22"/>
                <a:gd name="T8" fmla="*/ 149 w 160"/>
                <a:gd name="T9" fmla="*/ 22 h 22"/>
                <a:gd name="T10" fmla="*/ 160 w 160"/>
                <a:gd name="T11" fmla="*/ 11 h 22"/>
                <a:gd name="T12" fmla="*/ 149 w 16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">
                  <a:moveTo>
                    <a:pt x="14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5" y="22"/>
                    <a:pt x="160" y="17"/>
                    <a:pt x="160" y="11"/>
                  </a:cubicBezTo>
                  <a:cubicBezTo>
                    <a:pt x="160" y="5"/>
                    <a:pt x="155" y="0"/>
                    <a:pt x="149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92" name="Freeform 52">
              <a:extLst>
                <a:ext uri="{FF2B5EF4-FFF2-40B4-BE49-F238E27FC236}">
                  <a16:creationId xmlns="" xmlns:a16="http://schemas.microsoft.com/office/drawing/2014/main" id="{16724E77-68AC-4DED-9B13-F42136636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-8156242" y="5057783"/>
              <a:ext cx="384176" cy="52388"/>
            </a:xfrm>
            <a:custGeom>
              <a:avLst/>
              <a:gdLst>
                <a:gd name="T0" fmla="*/ 149 w 160"/>
                <a:gd name="T1" fmla="*/ 0 h 22"/>
                <a:gd name="T2" fmla="*/ 11 w 160"/>
                <a:gd name="T3" fmla="*/ 0 h 22"/>
                <a:gd name="T4" fmla="*/ 0 w 160"/>
                <a:gd name="T5" fmla="*/ 11 h 22"/>
                <a:gd name="T6" fmla="*/ 11 w 160"/>
                <a:gd name="T7" fmla="*/ 22 h 22"/>
                <a:gd name="T8" fmla="*/ 149 w 160"/>
                <a:gd name="T9" fmla="*/ 22 h 22"/>
                <a:gd name="T10" fmla="*/ 160 w 160"/>
                <a:gd name="T11" fmla="*/ 11 h 22"/>
                <a:gd name="T12" fmla="*/ 149 w 160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0" h="22">
                  <a:moveTo>
                    <a:pt x="14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7"/>
                    <a:pt x="5" y="22"/>
                    <a:pt x="11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5" y="22"/>
                    <a:pt x="160" y="17"/>
                    <a:pt x="160" y="11"/>
                  </a:cubicBezTo>
                  <a:cubicBezTo>
                    <a:pt x="160" y="5"/>
                    <a:pt x="155" y="0"/>
                    <a:pt x="149" y="0"/>
                  </a:cubicBezTo>
                  <a:close/>
                </a:path>
              </a:pathLst>
            </a:custGeom>
            <a:solidFill>
              <a:srgbClr val="2E42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grpSp>
        <p:nvGrpSpPr>
          <p:cNvPr id="193" name="Group 192">
            <a:extLst>
              <a:ext uri="{FF2B5EF4-FFF2-40B4-BE49-F238E27FC236}">
                <a16:creationId xmlns="" xmlns:a16="http://schemas.microsoft.com/office/drawing/2014/main" id="{98758F6E-D94D-4217-B312-A15D8115554F}"/>
              </a:ext>
            </a:extLst>
          </p:cNvPr>
          <p:cNvGrpSpPr/>
          <p:nvPr/>
        </p:nvGrpSpPr>
        <p:grpSpPr>
          <a:xfrm>
            <a:off x="7670238" y="4789844"/>
            <a:ext cx="1372115" cy="795471"/>
            <a:chOff x="5666181" y="4968360"/>
            <a:chExt cx="1372115" cy="795471"/>
          </a:xfrm>
        </p:grpSpPr>
        <p:sp>
          <p:nvSpPr>
            <p:cNvPr id="194" name="Freeform 6" descr="bpct-blend3">
              <a:extLst>
                <a:ext uri="{FF2B5EF4-FFF2-40B4-BE49-F238E27FC236}">
                  <a16:creationId xmlns="" xmlns:a16="http://schemas.microsoft.com/office/drawing/2014/main" id="{A07B3BFA-F589-440F-A916-36270CC4FDB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666181" y="5132006"/>
              <a:ext cx="1210360" cy="631825"/>
            </a:xfrm>
            <a:custGeom>
              <a:avLst/>
              <a:gdLst>
                <a:gd name="T0" fmla="*/ 2147483647 w 524"/>
                <a:gd name="T1" fmla="*/ 2147483647 h 279"/>
                <a:gd name="T2" fmla="*/ 2147483647 w 524"/>
                <a:gd name="T3" fmla="*/ 2147483647 h 279"/>
                <a:gd name="T4" fmla="*/ 2147483647 w 524"/>
                <a:gd name="T5" fmla="*/ 2147483647 h 279"/>
                <a:gd name="T6" fmla="*/ 2147483647 w 524"/>
                <a:gd name="T7" fmla="*/ 2147483647 h 279"/>
                <a:gd name="T8" fmla="*/ 2147483647 w 524"/>
                <a:gd name="T9" fmla="*/ 2147483647 h 279"/>
                <a:gd name="T10" fmla="*/ 2147483647 w 524"/>
                <a:gd name="T11" fmla="*/ 2147483647 h 279"/>
                <a:gd name="T12" fmla="*/ 2147483647 w 524"/>
                <a:gd name="T13" fmla="*/ 2147483647 h 279"/>
                <a:gd name="T14" fmla="*/ 2147483647 w 524"/>
                <a:gd name="T15" fmla="*/ 2147483647 h 279"/>
                <a:gd name="T16" fmla="*/ 2147483647 w 524"/>
                <a:gd name="T17" fmla="*/ 2147483647 h 279"/>
                <a:gd name="T18" fmla="*/ 2147483647 w 524"/>
                <a:gd name="T19" fmla="*/ 2147483647 h 279"/>
                <a:gd name="T20" fmla="*/ 2147483647 w 524"/>
                <a:gd name="T21" fmla="*/ 2147483647 h 279"/>
                <a:gd name="T22" fmla="*/ 2147483647 w 524"/>
                <a:gd name="T23" fmla="*/ 2147483647 h 279"/>
                <a:gd name="T24" fmla="*/ 2147483647 w 524"/>
                <a:gd name="T25" fmla="*/ 2147483647 h 279"/>
                <a:gd name="T26" fmla="*/ 2147483647 w 524"/>
                <a:gd name="T27" fmla="*/ 2147483647 h 279"/>
                <a:gd name="T28" fmla="*/ 2147483647 w 524"/>
                <a:gd name="T29" fmla="*/ 2147483647 h 279"/>
                <a:gd name="T30" fmla="*/ 2147483647 w 524"/>
                <a:gd name="T31" fmla="*/ 2147483647 h 279"/>
                <a:gd name="T32" fmla="*/ 2147483647 w 524"/>
                <a:gd name="T33" fmla="*/ 2147483647 h 279"/>
                <a:gd name="T34" fmla="*/ 2147483647 w 524"/>
                <a:gd name="T35" fmla="*/ 2147483647 h 279"/>
                <a:gd name="T36" fmla="*/ 2147483647 w 524"/>
                <a:gd name="T37" fmla="*/ 2147483647 h 279"/>
                <a:gd name="T38" fmla="*/ 2147483647 w 524"/>
                <a:gd name="T39" fmla="*/ 2147483647 h 279"/>
                <a:gd name="T40" fmla="*/ 2147483647 w 524"/>
                <a:gd name="T41" fmla="*/ 2147483647 h 279"/>
                <a:gd name="T42" fmla="*/ 2147483647 w 524"/>
                <a:gd name="T43" fmla="*/ 2147483647 h 279"/>
                <a:gd name="T44" fmla="*/ 2147483647 w 524"/>
                <a:gd name="T45" fmla="*/ 2147483647 h 279"/>
                <a:gd name="T46" fmla="*/ 2147483647 w 524"/>
                <a:gd name="T47" fmla="*/ 2147483647 h 279"/>
                <a:gd name="T48" fmla="*/ 2147483647 w 524"/>
                <a:gd name="T49" fmla="*/ 2147483647 h 279"/>
                <a:gd name="T50" fmla="*/ 2147483647 w 524"/>
                <a:gd name="T51" fmla="*/ 2147483647 h 279"/>
                <a:gd name="T52" fmla="*/ 2147483647 w 524"/>
                <a:gd name="T53" fmla="*/ 2147483647 h 279"/>
                <a:gd name="T54" fmla="*/ 2147483647 w 524"/>
                <a:gd name="T55" fmla="*/ 2147483647 h 279"/>
                <a:gd name="T56" fmla="*/ 2147483647 w 524"/>
                <a:gd name="T57" fmla="*/ 2147483647 h 279"/>
                <a:gd name="T58" fmla="*/ 2147483647 w 524"/>
                <a:gd name="T59" fmla="*/ 2147483647 h 279"/>
                <a:gd name="T60" fmla="*/ 2147483647 w 524"/>
                <a:gd name="T61" fmla="*/ 2147483647 h 279"/>
                <a:gd name="T62" fmla="*/ 2147483647 w 524"/>
                <a:gd name="T63" fmla="*/ 2147483647 h 279"/>
                <a:gd name="T64" fmla="*/ 2147483647 w 524"/>
                <a:gd name="T65" fmla="*/ 2147483647 h 279"/>
                <a:gd name="T66" fmla="*/ 2147483647 w 524"/>
                <a:gd name="T67" fmla="*/ 2147483647 h 279"/>
                <a:gd name="T68" fmla="*/ 2147483647 w 524"/>
                <a:gd name="T69" fmla="*/ 2147483647 h 279"/>
                <a:gd name="T70" fmla="*/ 2147483647 w 524"/>
                <a:gd name="T71" fmla="*/ 2147483647 h 279"/>
                <a:gd name="T72" fmla="*/ 2147483647 w 524"/>
                <a:gd name="T73" fmla="*/ 2147483647 h 279"/>
                <a:gd name="T74" fmla="*/ 2147483647 w 524"/>
                <a:gd name="T75" fmla="*/ 2147483647 h 279"/>
                <a:gd name="T76" fmla="*/ 2147483647 w 524"/>
                <a:gd name="T77" fmla="*/ 0 h 279"/>
                <a:gd name="T78" fmla="*/ 2147483647 w 524"/>
                <a:gd name="T79" fmla="*/ 2147483647 h 279"/>
                <a:gd name="T80" fmla="*/ 2147483647 w 524"/>
                <a:gd name="T81" fmla="*/ 2147483647 h 279"/>
                <a:gd name="T82" fmla="*/ 2147483647 w 524"/>
                <a:gd name="T83" fmla="*/ 2147483647 h 279"/>
                <a:gd name="T84" fmla="*/ 2147483647 w 524"/>
                <a:gd name="T85" fmla="*/ 2147483647 h 279"/>
                <a:gd name="T86" fmla="*/ 2147483647 w 524"/>
                <a:gd name="T87" fmla="*/ 2147483647 h 279"/>
                <a:gd name="T88" fmla="*/ 2147483647 w 524"/>
                <a:gd name="T89" fmla="*/ 2147483647 h 279"/>
                <a:gd name="T90" fmla="*/ 2147483647 w 524"/>
                <a:gd name="T91" fmla="*/ 2147483647 h 279"/>
                <a:gd name="T92" fmla="*/ 2147483647 w 524"/>
                <a:gd name="T93" fmla="*/ 2147483647 h 279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524" h="279">
                  <a:moveTo>
                    <a:pt x="481" y="27"/>
                  </a:moveTo>
                  <a:cubicBezTo>
                    <a:pt x="447" y="27"/>
                    <a:pt x="447" y="27"/>
                    <a:pt x="447" y="27"/>
                  </a:cubicBezTo>
                  <a:cubicBezTo>
                    <a:pt x="439" y="27"/>
                    <a:pt x="433" y="33"/>
                    <a:pt x="433" y="41"/>
                  </a:cubicBezTo>
                  <a:cubicBezTo>
                    <a:pt x="433" y="107"/>
                    <a:pt x="433" y="107"/>
                    <a:pt x="433" y="107"/>
                  </a:cubicBezTo>
                  <a:cubicBezTo>
                    <a:pt x="433" y="115"/>
                    <a:pt x="439" y="122"/>
                    <a:pt x="447" y="122"/>
                  </a:cubicBezTo>
                  <a:cubicBezTo>
                    <a:pt x="481" y="122"/>
                    <a:pt x="481" y="122"/>
                    <a:pt x="481" y="122"/>
                  </a:cubicBezTo>
                  <a:cubicBezTo>
                    <a:pt x="488" y="122"/>
                    <a:pt x="495" y="115"/>
                    <a:pt x="495" y="107"/>
                  </a:cubicBezTo>
                  <a:cubicBezTo>
                    <a:pt x="495" y="41"/>
                    <a:pt x="495" y="41"/>
                    <a:pt x="495" y="41"/>
                  </a:cubicBezTo>
                  <a:cubicBezTo>
                    <a:pt x="495" y="33"/>
                    <a:pt x="488" y="27"/>
                    <a:pt x="481" y="27"/>
                  </a:cubicBezTo>
                  <a:close/>
                  <a:moveTo>
                    <a:pt x="479" y="106"/>
                  </a:moveTo>
                  <a:cubicBezTo>
                    <a:pt x="449" y="106"/>
                    <a:pt x="449" y="106"/>
                    <a:pt x="449" y="106"/>
                  </a:cubicBezTo>
                  <a:cubicBezTo>
                    <a:pt x="449" y="43"/>
                    <a:pt x="449" y="43"/>
                    <a:pt x="449" y="43"/>
                  </a:cubicBezTo>
                  <a:cubicBezTo>
                    <a:pt x="479" y="43"/>
                    <a:pt x="479" y="43"/>
                    <a:pt x="479" y="43"/>
                  </a:cubicBezTo>
                  <a:lnTo>
                    <a:pt x="479" y="106"/>
                  </a:lnTo>
                  <a:close/>
                  <a:moveTo>
                    <a:pt x="376" y="27"/>
                  </a:moveTo>
                  <a:cubicBezTo>
                    <a:pt x="368" y="27"/>
                    <a:pt x="362" y="33"/>
                    <a:pt x="362" y="41"/>
                  </a:cubicBezTo>
                  <a:cubicBezTo>
                    <a:pt x="362" y="107"/>
                    <a:pt x="362" y="107"/>
                    <a:pt x="362" y="107"/>
                  </a:cubicBezTo>
                  <a:cubicBezTo>
                    <a:pt x="362" y="115"/>
                    <a:pt x="368" y="122"/>
                    <a:pt x="376" y="122"/>
                  </a:cubicBezTo>
                  <a:cubicBezTo>
                    <a:pt x="410" y="122"/>
                    <a:pt x="410" y="122"/>
                    <a:pt x="410" y="122"/>
                  </a:cubicBezTo>
                  <a:cubicBezTo>
                    <a:pt x="418" y="122"/>
                    <a:pt x="424" y="115"/>
                    <a:pt x="424" y="107"/>
                  </a:cubicBezTo>
                  <a:cubicBezTo>
                    <a:pt x="424" y="41"/>
                    <a:pt x="424" y="41"/>
                    <a:pt x="424" y="41"/>
                  </a:cubicBezTo>
                  <a:cubicBezTo>
                    <a:pt x="424" y="33"/>
                    <a:pt x="418" y="27"/>
                    <a:pt x="410" y="27"/>
                  </a:cubicBezTo>
                  <a:lnTo>
                    <a:pt x="376" y="27"/>
                  </a:lnTo>
                  <a:close/>
                  <a:moveTo>
                    <a:pt x="408" y="106"/>
                  </a:moveTo>
                  <a:cubicBezTo>
                    <a:pt x="378" y="106"/>
                    <a:pt x="378" y="106"/>
                    <a:pt x="378" y="106"/>
                  </a:cubicBezTo>
                  <a:cubicBezTo>
                    <a:pt x="378" y="43"/>
                    <a:pt x="378" y="43"/>
                    <a:pt x="378" y="43"/>
                  </a:cubicBezTo>
                  <a:cubicBezTo>
                    <a:pt x="408" y="43"/>
                    <a:pt x="408" y="43"/>
                    <a:pt x="408" y="43"/>
                  </a:cubicBezTo>
                  <a:lnTo>
                    <a:pt x="408" y="106"/>
                  </a:lnTo>
                  <a:close/>
                  <a:moveTo>
                    <a:pt x="305" y="27"/>
                  </a:moveTo>
                  <a:cubicBezTo>
                    <a:pt x="298" y="27"/>
                    <a:pt x="291" y="33"/>
                    <a:pt x="291" y="41"/>
                  </a:cubicBezTo>
                  <a:cubicBezTo>
                    <a:pt x="291" y="107"/>
                    <a:pt x="291" y="107"/>
                    <a:pt x="291" y="107"/>
                  </a:cubicBezTo>
                  <a:cubicBezTo>
                    <a:pt x="291" y="115"/>
                    <a:pt x="298" y="122"/>
                    <a:pt x="305" y="122"/>
                  </a:cubicBezTo>
                  <a:cubicBezTo>
                    <a:pt x="339" y="122"/>
                    <a:pt x="339" y="122"/>
                    <a:pt x="339" y="122"/>
                  </a:cubicBezTo>
                  <a:cubicBezTo>
                    <a:pt x="347" y="122"/>
                    <a:pt x="353" y="115"/>
                    <a:pt x="353" y="107"/>
                  </a:cubicBezTo>
                  <a:cubicBezTo>
                    <a:pt x="353" y="41"/>
                    <a:pt x="353" y="41"/>
                    <a:pt x="353" y="41"/>
                  </a:cubicBezTo>
                  <a:cubicBezTo>
                    <a:pt x="353" y="33"/>
                    <a:pt x="347" y="27"/>
                    <a:pt x="339" y="27"/>
                  </a:cubicBezTo>
                  <a:lnTo>
                    <a:pt x="305" y="27"/>
                  </a:lnTo>
                  <a:close/>
                  <a:moveTo>
                    <a:pt x="337" y="106"/>
                  </a:moveTo>
                  <a:cubicBezTo>
                    <a:pt x="307" y="106"/>
                    <a:pt x="307" y="106"/>
                    <a:pt x="307" y="106"/>
                  </a:cubicBezTo>
                  <a:cubicBezTo>
                    <a:pt x="307" y="43"/>
                    <a:pt x="307" y="43"/>
                    <a:pt x="307" y="43"/>
                  </a:cubicBezTo>
                  <a:cubicBezTo>
                    <a:pt x="337" y="43"/>
                    <a:pt x="337" y="43"/>
                    <a:pt x="337" y="43"/>
                  </a:cubicBezTo>
                  <a:lnTo>
                    <a:pt x="337" y="106"/>
                  </a:lnTo>
                  <a:close/>
                  <a:moveTo>
                    <a:pt x="235" y="27"/>
                  </a:moveTo>
                  <a:cubicBezTo>
                    <a:pt x="227" y="27"/>
                    <a:pt x="220" y="33"/>
                    <a:pt x="220" y="41"/>
                  </a:cubicBezTo>
                  <a:cubicBezTo>
                    <a:pt x="220" y="107"/>
                    <a:pt x="220" y="107"/>
                    <a:pt x="220" y="107"/>
                  </a:cubicBezTo>
                  <a:cubicBezTo>
                    <a:pt x="220" y="115"/>
                    <a:pt x="227" y="122"/>
                    <a:pt x="235" y="122"/>
                  </a:cubicBezTo>
                  <a:cubicBezTo>
                    <a:pt x="268" y="122"/>
                    <a:pt x="268" y="122"/>
                    <a:pt x="268" y="122"/>
                  </a:cubicBezTo>
                  <a:cubicBezTo>
                    <a:pt x="276" y="122"/>
                    <a:pt x="282" y="115"/>
                    <a:pt x="282" y="107"/>
                  </a:cubicBezTo>
                  <a:cubicBezTo>
                    <a:pt x="282" y="41"/>
                    <a:pt x="282" y="41"/>
                    <a:pt x="282" y="41"/>
                  </a:cubicBezTo>
                  <a:cubicBezTo>
                    <a:pt x="282" y="33"/>
                    <a:pt x="276" y="27"/>
                    <a:pt x="268" y="27"/>
                  </a:cubicBezTo>
                  <a:lnTo>
                    <a:pt x="235" y="27"/>
                  </a:lnTo>
                  <a:close/>
                  <a:moveTo>
                    <a:pt x="266" y="106"/>
                  </a:moveTo>
                  <a:cubicBezTo>
                    <a:pt x="236" y="106"/>
                    <a:pt x="236" y="106"/>
                    <a:pt x="236" y="106"/>
                  </a:cubicBezTo>
                  <a:cubicBezTo>
                    <a:pt x="236" y="43"/>
                    <a:pt x="236" y="43"/>
                    <a:pt x="236" y="43"/>
                  </a:cubicBezTo>
                  <a:cubicBezTo>
                    <a:pt x="266" y="43"/>
                    <a:pt x="266" y="43"/>
                    <a:pt x="266" y="43"/>
                  </a:cubicBezTo>
                  <a:lnTo>
                    <a:pt x="266" y="106"/>
                  </a:lnTo>
                  <a:close/>
                  <a:moveTo>
                    <a:pt x="42" y="27"/>
                  </a:moveTo>
                  <a:cubicBezTo>
                    <a:pt x="33" y="27"/>
                    <a:pt x="26" y="34"/>
                    <a:pt x="26" y="43"/>
                  </a:cubicBezTo>
                  <a:cubicBezTo>
                    <a:pt x="26" y="129"/>
                    <a:pt x="26" y="129"/>
                    <a:pt x="26" y="129"/>
                  </a:cubicBezTo>
                  <a:cubicBezTo>
                    <a:pt x="26" y="137"/>
                    <a:pt x="33" y="145"/>
                    <a:pt x="42" y="145"/>
                  </a:cubicBezTo>
                  <a:cubicBezTo>
                    <a:pt x="125" y="145"/>
                    <a:pt x="125" y="145"/>
                    <a:pt x="125" y="145"/>
                  </a:cubicBezTo>
                  <a:cubicBezTo>
                    <a:pt x="134" y="145"/>
                    <a:pt x="141" y="137"/>
                    <a:pt x="141" y="129"/>
                  </a:cubicBezTo>
                  <a:cubicBezTo>
                    <a:pt x="141" y="43"/>
                    <a:pt x="141" y="43"/>
                    <a:pt x="141" y="43"/>
                  </a:cubicBezTo>
                  <a:cubicBezTo>
                    <a:pt x="141" y="34"/>
                    <a:pt x="134" y="27"/>
                    <a:pt x="125" y="27"/>
                  </a:cubicBezTo>
                  <a:lnTo>
                    <a:pt x="42" y="27"/>
                  </a:lnTo>
                  <a:close/>
                  <a:moveTo>
                    <a:pt x="125" y="129"/>
                  </a:moveTo>
                  <a:cubicBezTo>
                    <a:pt x="125" y="129"/>
                    <a:pt x="125" y="129"/>
                    <a:pt x="125" y="129"/>
                  </a:cubicBezTo>
                  <a:cubicBezTo>
                    <a:pt x="42" y="129"/>
                    <a:pt x="42" y="129"/>
                    <a:pt x="42" y="129"/>
                  </a:cubicBezTo>
                  <a:cubicBezTo>
                    <a:pt x="42" y="129"/>
                    <a:pt x="42" y="129"/>
                    <a:pt x="42" y="129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5" y="43"/>
                    <a:pt x="125" y="43"/>
                    <a:pt x="125" y="43"/>
                  </a:cubicBezTo>
                  <a:lnTo>
                    <a:pt x="125" y="129"/>
                  </a:lnTo>
                  <a:close/>
                  <a:moveTo>
                    <a:pt x="164" y="27"/>
                  </a:moveTo>
                  <a:cubicBezTo>
                    <a:pt x="156" y="27"/>
                    <a:pt x="150" y="33"/>
                    <a:pt x="150" y="41"/>
                  </a:cubicBezTo>
                  <a:cubicBezTo>
                    <a:pt x="150" y="208"/>
                    <a:pt x="150" y="208"/>
                    <a:pt x="150" y="208"/>
                  </a:cubicBezTo>
                  <a:cubicBezTo>
                    <a:pt x="150" y="215"/>
                    <a:pt x="156" y="222"/>
                    <a:pt x="164" y="222"/>
                  </a:cubicBezTo>
                  <a:cubicBezTo>
                    <a:pt x="197" y="222"/>
                    <a:pt x="197" y="222"/>
                    <a:pt x="197" y="222"/>
                  </a:cubicBezTo>
                  <a:cubicBezTo>
                    <a:pt x="205" y="222"/>
                    <a:pt x="212" y="215"/>
                    <a:pt x="212" y="208"/>
                  </a:cubicBezTo>
                  <a:cubicBezTo>
                    <a:pt x="212" y="41"/>
                    <a:pt x="212" y="41"/>
                    <a:pt x="212" y="41"/>
                  </a:cubicBezTo>
                  <a:cubicBezTo>
                    <a:pt x="212" y="33"/>
                    <a:pt x="205" y="27"/>
                    <a:pt x="197" y="27"/>
                  </a:cubicBezTo>
                  <a:lnTo>
                    <a:pt x="164" y="27"/>
                  </a:lnTo>
                  <a:close/>
                  <a:moveTo>
                    <a:pt x="196" y="206"/>
                  </a:moveTo>
                  <a:cubicBezTo>
                    <a:pt x="166" y="206"/>
                    <a:pt x="166" y="206"/>
                    <a:pt x="166" y="206"/>
                  </a:cubicBezTo>
                  <a:cubicBezTo>
                    <a:pt x="166" y="122"/>
                    <a:pt x="166" y="122"/>
                    <a:pt x="166" y="122"/>
                  </a:cubicBezTo>
                  <a:cubicBezTo>
                    <a:pt x="196" y="122"/>
                    <a:pt x="196" y="122"/>
                    <a:pt x="196" y="122"/>
                  </a:cubicBezTo>
                  <a:lnTo>
                    <a:pt x="196" y="206"/>
                  </a:lnTo>
                  <a:close/>
                  <a:moveTo>
                    <a:pt x="196" y="106"/>
                  </a:moveTo>
                  <a:cubicBezTo>
                    <a:pt x="166" y="106"/>
                    <a:pt x="166" y="106"/>
                    <a:pt x="166" y="106"/>
                  </a:cubicBezTo>
                  <a:cubicBezTo>
                    <a:pt x="166" y="43"/>
                    <a:pt x="166" y="43"/>
                    <a:pt x="166" y="43"/>
                  </a:cubicBezTo>
                  <a:cubicBezTo>
                    <a:pt x="196" y="43"/>
                    <a:pt x="196" y="43"/>
                    <a:pt x="196" y="43"/>
                  </a:cubicBezTo>
                  <a:lnTo>
                    <a:pt x="196" y="106"/>
                  </a:lnTo>
                  <a:close/>
                  <a:moveTo>
                    <a:pt x="516" y="69"/>
                  </a:moveTo>
                  <a:cubicBezTo>
                    <a:pt x="511" y="69"/>
                    <a:pt x="508" y="72"/>
                    <a:pt x="508" y="77"/>
                  </a:cubicBezTo>
                  <a:cubicBezTo>
                    <a:pt x="508" y="227"/>
                    <a:pt x="508" y="227"/>
                    <a:pt x="508" y="227"/>
                  </a:cubicBezTo>
                  <a:cubicBezTo>
                    <a:pt x="508" y="235"/>
                    <a:pt x="501" y="241"/>
                    <a:pt x="493" y="241"/>
                  </a:cubicBezTo>
                  <a:cubicBezTo>
                    <a:pt x="473" y="241"/>
                    <a:pt x="473" y="241"/>
                    <a:pt x="473" y="241"/>
                  </a:cubicBezTo>
                  <a:cubicBezTo>
                    <a:pt x="474" y="239"/>
                    <a:pt x="474" y="237"/>
                    <a:pt x="474" y="234"/>
                  </a:cubicBezTo>
                  <a:cubicBezTo>
                    <a:pt x="474" y="210"/>
                    <a:pt x="454" y="190"/>
                    <a:pt x="429" y="190"/>
                  </a:cubicBezTo>
                  <a:cubicBezTo>
                    <a:pt x="405" y="190"/>
                    <a:pt x="386" y="209"/>
                    <a:pt x="385" y="233"/>
                  </a:cubicBezTo>
                  <a:cubicBezTo>
                    <a:pt x="357" y="233"/>
                    <a:pt x="233" y="233"/>
                    <a:pt x="139" y="233"/>
                  </a:cubicBezTo>
                  <a:cubicBezTo>
                    <a:pt x="138" y="209"/>
                    <a:pt x="119" y="190"/>
                    <a:pt x="95" y="190"/>
                  </a:cubicBezTo>
                  <a:cubicBezTo>
                    <a:pt x="70" y="190"/>
                    <a:pt x="50" y="210"/>
                    <a:pt x="50" y="234"/>
                  </a:cubicBezTo>
                  <a:cubicBezTo>
                    <a:pt x="50" y="237"/>
                    <a:pt x="50" y="239"/>
                    <a:pt x="51" y="241"/>
                  </a:cubicBezTo>
                  <a:cubicBezTo>
                    <a:pt x="38" y="241"/>
                    <a:pt x="30" y="241"/>
                    <a:pt x="30" y="241"/>
                  </a:cubicBezTo>
                  <a:cubicBezTo>
                    <a:pt x="22" y="241"/>
                    <a:pt x="16" y="235"/>
                    <a:pt x="16" y="227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6" y="23"/>
                    <a:pt x="22" y="16"/>
                    <a:pt x="30" y="16"/>
                  </a:cubicBezTo>
                  <a:cubicBezTo>
                    <a:pt x="493" y="16"/>
                    <a:pt x="493" y="16"/>
                    <a:pt x="493" y="16"/>
                  </a:cubicBezTo>
                  <a:cubicBezTo>
                    <a:pt x="501" y="16"/>
                    <a:pt x="508" y="23"/>
                    <a:pt x="508" y="31"/>
                  </a:cubicBezTo>
                  <a:cubicBezTo>
                    <a:pt x="508" y="46"/>
                    <a:pt x="508" y="46"/>
                    <a:pt x="508" y="46"/>
                  </a:cubicBezTo>
                  <a:cubicBezTo>
                    <a:pt x="508" y="50"/>
                    <a:pt x="511" y="54"/>
                    <a:pt x="516" y="54"/>
                  </a:cubicBezTo>
                  <a:cubicBezTo>
                    <a:pt x="520" y="54"/>
                    <a:pt x="524" y="50"/>
                    <a:pt x="524" y="46"/>
                  </a:cubicBezTo>
                  <a:cubicBezTo>
                    <a:pt x="524" y="31"/>
                    <a:pt x="524" y="31"/>
                    <a:pt x="524" y="31"/>
                  </a:cubicBezTo>
                  <a:cubicBezTo>
                    <a:pt x="524" y="14"/>
                    <a:pt x="510" y="0"/>
                    <a:pt x="493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13" y="0"/>
                    <a:pt x="0" y="14"/>
                    <a:pt x="0" y="31"/>
                  </a:cubicBezTo>
                  <a:cubicBezTo>
                    <a:pt x="0" y="227"/>
                    <a:pt x="0" y="227"/>
                    <a:pt x="0" y="227"/>
                  </a:cubicBezTo>
                  <a:cubicBezTo>
                    <a:pt x="0" y="244"/>
                    <a:pt x="13" y="257"/>
                    <a:pt x="30" y="257"/>
                  </a:cubicBezTo>
                  <a:cubicBezTo>
                    <a:pt x="30" y="257"/>
                    <a:pt x="33" y="257"/>
                    <a:pt x="37" y="257"/>
                  </a:cubicBezTo>
                  <a:cubicBezTo>
                    <a:pt x="42" y="257"/>
                    <a:pt x="48" y="257"/>
                    <a:pt x="56" y="257"/>
                  </a:cubicBezTo>
                  <a:cubicBezTo>
                    <a:pt x="64" y="270"/>
                    <a:pt x="78" y="279"/>
                    <a:pt x="95" y="279"/>
                  </a:cubicBezTo>
                  <a:cubicBezTo>
                    <a:pt x="114" y="279"/>
                    <a:pt x="131" y="266"/>
                    <a:pt x="137" y="249"/>
                  </a:cubicBezTo>
                  <a:cubicBezTo>
                    <a:pt x="233" y="249"/>
                    <a:pt x="364" y="249"/>
                    <a:pt x="387" y="249"/>
                  </a:cubicBezTo>
                  <a:cubicBezTo>
                    <a:pt x="393" y="266"/>
                    <a:pt x="410" y="279"/>
                    <a:pt x="429" y="279"/>
                  </a:cubicBezTo>
                  <a:cubicBezTo>
                    <a:pt x="446" y="279"/>
                    <a:pt x="460" y="270"/>
                    <a:pt x="468" y="257"/>
                  </a:cubicBezTo>
                  <a:cubicBezTo>
                    <a:pt x="493" y="257"/>
                    <a:pt x="493" y="257"/>
                    <a:pt x="493" y="257"/>
                  </a:cubicBezTo>
                  <a:cubicBezTo>
                    <a:pt x="510" y="257"/>
                    <a:pt x="524" y="244"/>
                    <a:pt x="524" y="227"/>
                  </a:cubicBezTo>
                  <a:cubicBezTo>
                    <a:pt x="524" y="77"/>
                    <a:pt x="524" y="77"/>
                    <a:pt x="524" y="77"/>
                  </a:cubicBezTo>
                  <a:cubicBezTo>
                    <a:pt x="524" y="72"/>
                    <a:pt x="520" y="69"/>
                    <a:pt x="516" y="69"/>
                  </a:cubicBezTo>
                  <a:close/>
                  <a:moveTo>
                    <a:pt x="95" y="263"/>
                  </a:moveTo>
                  <a:cubicBezTo>
                    <a:pt x="79" y="263"/>
                    <a:pt x="66" y="250"/>
                    <a:pt x="66" y="234"/>
                  </a:cubicBezTo>
                  <a:cubicBezTo>
                    <a:pt x="66" y="219"/>
                    <a:pt x="79" y="206"/>
                    <a:pt x="95" y="206"/>
                  </a:cubicBezTo>
                  <a:cubicBezTo>
                    <a:pt x="110" y="206"/>
                    <a:pt x="123" y="219"/>
                    <a:pt x="123" y="234"/>
                  </a:cubicBezTo>
                  <a:cubicBezTo>
                    <a:pt x="123" y="250"/>
                    <a:pt x="110" y="263"/>
                    <a:pt x="95" y="263"/>
                  </a:cubicBezTo>
                  <a:close/>
                  <a:moveTo>
                    <a:pt x="429" y="263"/>
                  </a:moveTo>
                  <a:cubicBezTo>
                    <a:pt x="413" y="263"/>
                    <a:pt x="401" y="250"/>
                    <a:pt x="401" y="234"/>
                  </a:cubicBezTo>
                  <a:cubicBezTo>
                    <a:pt x="401" y="219"/>
                    <a:pt x="413" y="206"/>
                    <a:pt x="429" y="206"/>
                  </a:cubicBezTo>
                  <a:cubicBezTo>
                    <a:pt x="445" y="206"/>
                    <a:pt x="458" y="219"/>
                    <a:pt x="458" y="234"/>
                  </a:cubicBezTo>
                  <a:cubicBezTo>
                    <a:pt x="458" y="250"/>
                    <a:pt x="445" y="263"/>
                    <a:pt x="429" y="26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/>
          </p:spPr>
          <p:txBody>
            <a:bodyPr lIns="91436" tIns="45718" rIns="91436" bIns="45718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96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 pitchFamily="34" charset="0"/>
              </a:endParaRPr>
            </a:p>
          </p:txBody>
        </p:sp>
        <p:sp>
          <p:nvSpPr>
            <p:cNvPr id="195" name="Freeform 5">
              <a:extLst>
                <a:ext uri="{FF2B5EF4-FFF2-40B4-BE49-F238E27FC236}">
                  <a16:creationId xmlns="" xmlns:a16="http://schemas.microsoft.com/office/drawing/2014/main" id="{893E198A-79B6-494B-A7EB-7B5C8F2FE65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856593" y="4968360"/>
              <a:ext cx="181703" cy="181703"/>
            </a:xfrm>
            <a:custGeom>
              <a:avLst/>
              <a:gdLst>
                <a:gd name="T0" fmla="*/ 2147483646 w 144"/>
                <a:gd name="T1" fmla="*/ 2147483646 h 144"/>
                <a:gd name="T2" fmla="*/ 2147483646 w 144"/>
                <a:gd name="T3" fmla="*/ 2147483646 h 144"/>
                <a:gd name="T4" fmla="*/ 2147483646 w 144"/>
                <a:gd name="T5" fmla="*/ 2147483646 h 144"/>
                <a:gd name="T6" fmla="*/ 2147483646 w 144"/>
                <a:gd name="T7" fmla="*/ 2147483646 h 144"/>
                <a:gd name="T8" fmla="*/ 2147483646 w 144"/>
                <a:gd name="T9" fmla="*/ 2147483646 h 144"/>
                <a:gd name="T10" fmla="*/ 2147483646 w 144"/>
                <a:gd name="T11" fmla="*/ 2147483646 h 144"/>
                <a:gd name="T12" fmla="*/ 2147483646 w 144"/>
                <a:gd name="T13" fmla="*/ 2147483646 h 144"/>
                <a:gd name="T14" fmla="*/ 2147483646 w 144"/>
                <a:gd name="T15" fmla="*/ 2147483646 h 144"/>
                <a:gd name="T16" fmla="*/ 2147483646 w 144"/>
                <a:gd name="T17" fmla="*/ 0 h 144"/>
                <a:gd name="T18" fmla="*/ 0 w 144"/>
                <a:gd name="T19" fmla="*/ 2147483646 h 144"/>
                <a:gd name="T20" fmla="*/ 2147483646 w 144"/>
                <a:gd name="T21" fmla="*/ 2147483646 h 144"/>
                <a:gd name="T22" fmla="*/ 2147483646 w 144"/>
                <a:gd name="T23" fmla="*/ 2147483646 h 144"/>
                <a:gd name="T24" fmla="*/ 0 w 144"/>
                <a:gd name="T25" fmla="*/ 2147483646 h 144"/>
                <a:gd name="T26" fmla="*/ 2147483646 w 144"/>
                <a:gd name="T27" fmla="*/ 2147483646 h 144"/>
                <a:gd name="T28" fmla="*/ 2147483646 w 144"/>
                <a:gd name="T29" fmla="*/ 2147483646 h 144"/>
                <a:gd name="T30" fmla="*/ 2147483646 w 144"/>
                <a:gd name="T31" fmla="*/ 2147483646 h 144"/>
                <a:gd name="T32" fmla="*/ 2147483646 w 144"/>
                <a:gd name="T33" fmla="*/ 2147483646 h 144"/>
                <a:gd name="T34" fmla="*/ 2147483646 w 144"/>
                <a:gd name="T35" fmla="*/ 2147483646 h 144"/>
                <a:gd name="T36" fmla="*/ 2147483646 w 144"/>
                <a:gd name="T37" fmla="*/ 2147483646 h 144"/>
                <a:gd name="T38" fmla="*/ 2147483646 w 144"/>
                <a:gd name="T39" fmla="*/ 2147483646 h 144"/>
                <a:gd name="T40" fmla="*/ 2147483646 w 144"/>
                <a:gd name="T41" fmla="*/ 2147483646 h 144"/>
                <a:gd name="T42" fmla="*/ 2147483646 w 144"/>
                <a:gd name="T43" fmla="*/ 2147483646 h 144"/>
                <a:gd name="T44" fmla="*/ 2147483646 w 144"/>
                <a:gd name="T45" fmla="*/ 2147483646 h 144"/>
                <a:gd name="T46" fmla="*/ 2147483646 w 144"/>
                <a:gd name="T47" fmla="*/ 2147483646 h 144"/>
                <a:gd name="T48" fmla="*/ 2147483646 w 144"/>
                <a:gd name="T49" fmla="*/ 2147483646 h 144"/>
                <a:gd name="T50" fmla="*/ 2147483646 w 144"/>
                <a:gd name="T51" fmla="*/ 2147483646 h 144"/>
                <a:gd name="T52" fmla="*/ 0 w 144"/>
                <a:gd name="T53" fmla="*/ 2147483646 h 144"/>
                <a:gd name="T54" fmla="*/ 2147483646 w 144"/>
                <a:gd name="T55" fmla="*/ 2147483646 h 144"/>
                <a:gd name="T56" fmla="*/ 2147483646 w 144"/>
                <a:gd name="T57" fmla="*/ 2147483646 h 144"/>
                <a:gd name="T58" fmla="*/ 2147483646 w 144"/>
                <a:gd name="T59" fmla="*/ 2147483646 h 144"/>
                <a:gd name="T60" fmla="*/ 2147483646 w 144"/>
                <a:gd name="T61" fmla="*/ 2147483646 h 14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44" h="144">
                  <a:moveTo>
                    <a:pt x="8" y="16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41" y="16"/>
                    <a:pt x="71" y="29"/>
                    <a:pt x="93" y="51"/>
                  </a:cubicBezTo>
                  <a:cubicBezTo>
                    <a:pt x="115" y="73"/>
                    <a:pt x="128" y="103"/>
                    <a:pt x="128" y="136"/>
                  </a:cubicBezTo>
                  <a:cubicBezTo>
                    <a:pt x="128" y="141"/>
                    <a:pt x="132" y="144"/>
                    <a:pt x="136" y="144"/>
                  </a:cubicBezTo>
                  <a:cubicBezTo>
                    <a:pt x="138" y="144"/>
                    <a:pt x="140" y="144"/>
                    <a:pt x="142" y="142"/>
                  </a:cubicBezTo>
                  <a:cubicBezTo>
                    <a:pt x="143" y="141"/>
                    <a:pt x="144" y="139"/>
                    <a:pt x="144" y="136"/>
                  </a:cubicBezTo>
                  <a:cubicBezTo>
                    <a:pt x="144" y="99"/>
                    <a:pt x="129" y="65"/>
                    <a:pt x="104" y="40"/>
                  </a:cubicBezTo>
                  <a:cubicBezTo>
                    <a:pt x="79" y="15"/>
                    <a:pt x="45" y="0"/>
                    <a:pt x="8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12"/>
                    <a:pt x="3" y="16"/>
                    <a:pt x="8" y="16"/>
                  </a:cubicBezTo>
                  <a:close/>
                  <a:moveTo>
                    <a:pt x="8" y="77"/>
                  </a:moveTo>
                  <a:cubicBezTo>
                    <a:pt x="3" y="77"/>
                    <a:pt x="0" y="80"/>
                    <a:pt x="0" y="85"/>
                  </a:cubicBezTo>
                  <a:cubicBezTo>
                    <a:pt x="0" y="89"/>
                    <a:pt x="3" y="93"/>
                    <a:pt x="8" y="93"/>
                  </a:cubicBezTo>
                  <a:cubicBezTo>
                    <a:pt x="20" y="93"/>
                    <a:pt x="30" y="98"/>
                    <a:pt x="38" y="106"/>
                  </a:cubicBezTo>
                  <a:cubicBezTo>
                    <a:pt x="46" y="114"/>
                    <a:pt x="51" y="124"/>
                    <a:pt x="51" y="136"/>
                  </a:cubicBezTo>
                  <a:cubicBezTo>
                    <a:pt x="51" y="141"/>
                    <a:pt x="55" y="144"/>
                    <a:pt x="59" y="144"/>
                  </a:cubicBezTo>
                  <a:cubicBezTo>
                    <a:pt x="61" y="144"/>
                    <a:pt x="63" y="144"/>
                    <a:pt x="65" y="142"/>
                  </a:cubicBezTo>
                  <a:cubicBezTo>
                    <a:pt x="66" y="141"/>
                    <a:pt x="67" y="139"/>
                    <a:pt x="67" y="136"/>
                  </a:cubicBezTo>
                  <a:cubicBezTo>
                    <a:pt x="67" y="120"/>
                    <a:pt x="60" y="105"/>
                    <a:pt x="50" y="94"/>
                  </a:cubicBezTo>
                  <a:cubicBezTo>
                    <a:pt x="39" y="84"/>
                    <a:pt x="24" y="77"/>
                    <a:pt x="8" y="77"/>
                  </a:cubicBezTo>
                  <a:close/>
                  <a:moveTo>
                    <a:pt x="98" y="144"/>
                  </a:moveTo>
                  <a:cubicBezTo>
                    <a:pt x="100" y="144"/>
                    <a:pt x="102" y="144"/>
                    <a:pt x="103" y="142"/>
                  </a:cubicBezTo>
                  <a:cubicBezTo>
                    <a:pt x="105" y="141"/>
                    <a:pt x="106" y="139"/>
                    <a:pt x="106" y="136"/>
                  </a:cubicBezTo>
                  <a:cubicBezTo>
                    <a:pt x="106" y="109"/>
                    <a:pt x="95" y="85"/>
                    <a:pt x="77" y="67"/>
                  </a:cubicBezTo>
                  <a:cubicBezTo>
                    <a:pt x="59" y="49"/>
                    <a:pt x="35" y="38"/>
                    <a:pt x="8" y="38"/>
                  </a:cubicBezTo>
                  <a:cubicBezTo>
                    <a:pt x="3" y="38"/>
                    <a:pt x="0" y="42"/>
                    <a:pt x="0" y="46"/>
                  </a:cubicBezTo>
                  <a:cubicBezTo>
                    <a:pt x="0" y="51"/>
                    <a:pt x="3" y="54"/>
                    <a:pt x="8" y="54"/>
                  </a:cubicBezTo>
                  <a:cubicBezTo>
                    <a:pt x="30" y="54"/>
                    <a:pt x="51" y="64"/>
                    <a:pt x="66" y="78"/>
                  </a:cubicBezTo>
                  <a:cubicBezTo>
                    <a:pt x="80" y="93"/>
                    <a:pt x="90" y="114"/>
                    <a:pt x="90" y="136"/>
                  </a:cubicBezTo>
                  <a:cubicBezTo>
                    <a:pt x="90" y="141"/>
                    <a:pt x="93" y="144"/>
                    <a:pt x="98" y="14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196" name="Rectangle: Rounded Corners 195">
            <a:extLst>
              <a:ext uri="{FF2B5EF4-FFF2-40B4-BE49-F238E27FC236}">
                <a16:creationId xmlns="" xmlns:a16="http://schemas.microsoft.com/office/drawing/2014/main" id="{79F29236-0014-4937-8E84-D30A4CED15DB}"/>
              </a:ext>
            </a:extLst>
          </p:cNvPr>
          <p:cNvSpPr/>
          <p:nvPr/>
        </p:nvSpPr>
        <p:spPr>
          <a:xfrm>
            <a:off x="2819401" y="1434377"/>
            <a:ext cx="4724399" cy="1517629"/>
          </a:xfrm>
          <a:prstGeom prst="roundRect">
            <a:avLst/>
          </a:prstGeom>
          <a:blipFill dpi="0" rotWithShape="1">
            <a:blip r:embed="rId6"/>
            <a:srcRect/>
            <a:stretch>
              <a:fillRect/>
            </a:stretch>
          </a:blipFill>
          <a:ln w="1270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0" i="0" u="none" strike="noStrike" kern="1200" cap="none" spc="-8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pervisione avanzata </a:t>
            </a:r>
            <a:r>
              <a:rPr kumimoji="0" lang="sv-SE" b="0" i="0" u="none" strike="noStrike" kern="1200" cap="none" spc="-8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i</a:t>
            </a:r>
            <a:r>
              <a:rPr kumimoji="0" lang="sv-SE" b="0" i="0" u="none" strike="noStrike" kern="1200" cap="none" spc="-8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sv-SE" b="0" i="0" u="none" strike="noStrike" kern="1200" cap="none" spc="-8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zzi</a:t>
            </a:r>
            <a:r>
              <a:rPr kumimoji="0" lang="sv-SE" b="0" i="0" u="none" strike="noStrike" kern="1200" cap="none" spc="-8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u="none" strike="noStrike" kern="1200" cap="none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egrazione</a:t>
            </a:r>
            <a:r>
              <a:rPr kumimoji="0" lang="sv-SE" u="none" strike="noStrike" kern="1200" cap="none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lla </a:t>
            </a:r>
            <a:r>
              <a:rPr lang="sv-SE" noProof="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kumimoji="0" lang="sv-SE" u="none" strike="noStrike" kern="1200" cap="none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bilità</a:t>
            </a:r>
            <a:r>
              <a:rPr kumimoji="0" lang="sv-SE" u="none" strike="noStrike" kern="1200" cap="none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pc="1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</a:t>
            </a:r>
            <a:r>
              <a:rPr kumimoji="0" lang="sv-SE" b="0" i="0" u="none" strike="noStrike" kern="1200" cap="none" spc="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 </a:t>
            </a:r>
            <a:r>
              <a:rPr kumimoji="0" lang="sv-SE" b="0" i="0" u="none" strike="noStrike" kern="1200" cap="none" spc="1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ilitare</a:t>
            </a:r>
            <a:r>
              <a:rPr kumimoji="0" lang="sv-SE" b="0" i="0" u="none" strike="noStrike" kern="1200" cap="none" spc="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sv-SE" b="0" i="0" u="none" strike="noStrike" kern="1200" cap="none" spc="1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ovi</a:t>
            </a:r>
            <a:r>
              <a:rPr kumimoji="0" lang="sv-SE" b="0" i="0" u="none" strike="noStrike" kern="1200" cap="none" spc="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sv-SE" b="0" i="0" u="none" strike="noStrike" kern="1200" cap="none" spc="1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rvizi</a:t>
            </a:r>
            <a:r>
              <a:rPr kumimoji="0" lang="sv-SE" b="0" i="0" u="none" strike="noStrike" kern="1200" cap="none" spc="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0" i="0" u="none" strike="noStrike" kern="1200" cap="none" spc="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r i </a:t>
            </a:r>
            <a:r>
              <a:rPr kumimoji="0" lang="sv-SE" b="0" i="0" u="none" strike="noStrike" kern="1200" cap="none" spc="1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ittadini</a:t>
            </a:r>
            <a:r>
              <a:rPr kumimoji="0" lang="sv-SE" b="0" i="0" u="none" strike="noStrike" kern="1200" cap="none" spc="1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endParaRPr kumimoji="0" lang="en-US" b="0" i="0" u="none" strike="noStrike" kern="1200" cap="none" spc="1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7" name="Rectangle: Rounded Corners 196">
            <a:extLst>
              <a:ext uri="{FF2B5EF4-FFF2-40B4-BE49-F238E27FC236}">
                <a16:creationId xmlns="" xmlns:a16="http://schemas.microsoft.com/office/drawing/2014/main" id="{07AB0B71-694E-4648-A757-1200EB407C09}"/>
              </a:ext>
            </a:extLst>
          </p:cNvPr>
          <p:cNvSpPr/>
          <p:nvPr/>
        </p:nvSpPr>
        <p:spPr>
          <a:xfrm>
            <a:off x="6680335" y="1433467"/>
            <a:ext cx="4815665" cy="1514820"/>
          </a:xfrm>
          <a:prstGeom prst="roundRect">
            <a:avLst/>
          </a:prstGeom>
          <a:blipFill dpi="0" rotWithShape="1">
            <a:blip r:embed="rId7">
              <a:alphaModFix amt="63000"/>
            </a:blip>
            <a:srcRect/>
            <a:stretch>
              <a:fillRect/>
            </a:stretch>
          </a:blipFill>
          <a:ln w="1270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	</a:t>
            </a:r>
            <a:r>
              <a:rPr kumimoji="0" lang="it-IT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rvizi di nuova generazione </a:t>
            </a:r>
            <a:br>
              <a:rPr kumimoji="0" lang="it-IT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it-IT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	per la sicurezza a bord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i 	dei mezzi pubblici. </a:t>
            </a:r>
            <a:r>
              <a:rPr kumimoji="0" lang="it-IT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motizzazione</a:t>
            </a:r>
            <a:r>
              <a:rPr kumimoji="0" lang="it-IT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	del controllo delle infrastrutture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02" name="Picture 201">
            <a:extLst>
              <a:ext uri="{FF2B5EF4-FFF2-40B4-BE49-F238E27FC236}">
                <a16:creationId xmlns="" xmlns:a16="http://schemas.microsoft.com/office/drawing/2014/main" id="{2AC62C80-61BA-6D45-9A2F-EA05855A52C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7588" y="113791"/>
            <a:ext cx="10769600" cy="1612900"/>
          </a:xfrm>
          <a:prstGeom prst="rect">
            <a:avLst/>
          </a:prstGeom>
        </p:spPr>
      </p:pic>
      <p:sp>
        <p:nvSpPr>
          <p:cNvPr id="198" name="Rectangle: Rounded Corners 197">
            <a:extLst>
              <a:ext uri="{FF2B5EF4-FFF2-40B4-BE49-F238E27FC236}">
                <a16:creationId xmlns="" xmlns:a16="http://schemas.microsoft.com/office/drawing/2014/main" id="{D4A0D357-77F3-4D8D-BCE8-A29A3E94948F}"/>
              </a:ext>
            </a:extLst>
          </p:cNvPr>
          <p:cNvSpPr/>
          <p:nvPr/>
        </p:nvSpPr>
        <p:spPr>
          <a:xfrm>
            <a:off x="6185921" y="1433294"/>
            <a:ext cx="1417433" cy="1517628"/>
          </a:xfrm>
          <a:prstGeom prst="roundRect">
            <a:avLst/>
          </a:prstGeom>
          <a:blipFill dpi="0" rotWithShape="1">
            <a:blip r:embed="rId9"/>
            <a:srcRect/>
            <a:stretch>
              <a:fillRect/>
            </a:stretch>
          </a:blipFill>
          <a:ln w="1270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BIETTIVI</a:t>
            </a:r>
            <a:endParaRPr kumimoji="0" lang="sv-SE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03" name="Econ2011">
            <a:extLst>
              <a:ext uri="{FF2B5EF4-FFF2-40B4-BE49-F238E27FC236}">
                <a16:creationId xmlns="" xmlns:a16="http://schemas.microsoft.com/office/drawing/2014/main" id="{D9C49277-DE3C-7542-AD3E-162D52C9B82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09564" y="360000"/>
            <a:ext cx="444500" cy="587195"/>
          </a:xfrm>
          <a:prstGeom prst="rect">
            <a:avLst/>
          </a:prstGeom>
        </p:spPr>
      </p:pic>
      <p:pic>
        <p:nvPicPr>
          <p:cNvPr id="204" name="Picture 203">
            <a:extLst>
              <a:ext uri="{FF2B5EF4-FFF2-40B4-BE49-F238E27FC236}">
                <a16:creationId xmlns="" xmlns:a16="http://schemas.microsoft.com/office/drawing/2014/main" id="{E53D5653-6887-A44E-AA12-F5F86380B500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66" y="6132078"/>
            <a:ext cx="12178468" cy="725921"/>
          </a:xfrm>
          <a:prstGeom prst="rect">
            <a:avLst/>
          </a:prstGeom>
        </p:spPr>
      </p:pic>
      <p:sp>
        <p:nvSpPr>
          <p:cNvPr id="199" name="Rounded Rectangle 4">
            <a:extLst>
              <a:ext uri="{FF2B5EF4-FFF2-40B4-BE49-F238E27FC236}">
                <a16:creationId xmlns="" xmlns:a16="http://schemas.microsoft.com/office/drawing/2014/main" id="{A4F46504-E839-4056-ADBA-ADD88D788B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8400" y="2371765"/>
            <a:ext cx="2297259" cy="655593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72000" rIns="72000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sv-S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FASTWEB, ERICSSON E AUTORITY </a:t>
            </a:r>
            <a:br>
              <a:rPr kumimoji="0" lang="it-IT" altLang="sv-S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kumimoji="0" lang="it-IT" altLang="sv-S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MOBILITÀ URBANA</a:t>
            </a:r>
          </a:p>
        </p:txBody>
      </p:sp>
    </p:spTree>
    <p:extLst>
      <p:ext uri="{BB962C8B-B14F-4D97-AF65-F5344CB8AC3E}">
        <p14:creationId xmlns:p14="http://schemas.microsoft.com/office/powerpoint/2010/main" val="2249699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magine 23" descr="img17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324600"/>
          </a:xfrm>
          <a:prstGeom prst="rect">
            <a:avLst/>
          </a:prstGeom>
        </p:spPr>
      </p:pic>
      <p:sp>
        <p:nvSpPr>
          <p:cNvPr id="196" name="Rectangle: Rounded Corners 195">
            <a:extLst>
              <a:ext uri="{FF2B5EF4-FFF2-40B4-BE49-F238E27FC236}">
                <a16:creationId xmlns="" xmlns:a16="http://schemas.microsoft.com/office/drawing/2014/main" id="{72D33A59-99A2-439E-A042-254216A6DE7C}"/>
              </a:ext>
            </a:extLst>
          </p:cNvPr>
          <p:cNvSpPr/>
          <p:nvPr/>
        </p:nvSpPr>
        <p:spPr>
          <a:xfrm>
            <a:off x="1443900" y="1752600"/>
            <a:ext cx="9720000" cy="1461676"/>
          </a:xfrm>
          <a:prstGeom prst="roundRect">
            <a:avLst/>
          </a:prstGeom>
          <a:blipFill dpi="0" rotWithShape="1">
            <a:blip r:embed="rId5">
              <a:alphaModFix amt="70000"/>
            </a:blip>
            <a:srcRect/>
            <a:stretch>
              <a:fillRect/>
            </a:stretch>
          </a:blipFill>
          <a:ln w="1270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57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857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857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ideo Streaming HD da cabina passeggeri per la rilevazione dei rischi</a:t>
            </a:r>
          </a:p>
        </p:txBody>
      </p:sp>
      <p:sp>
        <p:nvSpPr>
          <p:cNvPr id="199" name="Hexagon 198">
            <a:extLst>
              <a:ext uri="{FF2B5EF4-FFF2-40B4-BE49-F238E27FC236}">
                <a16:creationId xmlns="" xmlns:a16="http://schemas.microsoft.com/office/drawing/2014/main" id="{B66C9571-48C8-4E29-9B1F-4B2EF24E6FDA}"/>
              </a:ext>
            </a:extLst>
          </p:cNvPr>
          <p:cNvSpPr/>
          <p:nvPr/>
        </p:nvSpPr>
        <p:spPr>
          <a:xfrm>
            <a:off x="504000" y="2123438"/>
            <a:ext cx="720000" cy="720000"/>
          </a:xfrm>
          <a:prstGeom prst="hexagon">
            <a:avLst/>
          </a:prstGeom>
          <a:solidFill>
            <a:schemeClr val="accent1">
              <a:lumMod val="75000"/>
            </a:schemeClr>
          </a:solidFill>
          <a:ln w="1270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8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0" name="Rectangle: Rounded Corners 199">
            <a:extLst>
              <a:ext uri="{FF2B5EF4-FFF2-40B4-BE49-F238E27FC236}">
                <a16:creationId xmlns="" xmlns:a16="http://schemas.microsoft.com/office/drawing/2014/main" id="{E88A3517-BD28-4933-85DA-643EE8A9E223}"/>
              </a:ext>
            </a:extLst>
          </p:cNvPr>
          <p:cNvSpPr/>
          <p:nvPr/>
        </p:nvSpPr>
        <p:spPr>
          <a:xfrm>
            <a:off x="1443899" y="1752601"/>
            <a:ext cx="8530979" cy="720000"/>
          </a:xfrm>
          <a:prstGeom prst="roundRect">
            <a:avLst/>
          </a:prstGeom>
          <a:solidFill>
            <a:srgbClr val="00A9D4"/>
          </a:solidFill>
          <a:ln w="1270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		Sicurezza a bordo dei mezzi pubblici</a:t>
            </a:r>
          </a:p>
        </p:txBody>
      </p:sp>
      <p:sp>
        <p:nvSpPr>
          <p:cNvPr id="201" name="Rectangle: Rounded Corners 200">
            <a:extLst>
              <a:ext uri="{FF2B5EF4-FFF2-40B4-BE49-F238E27FC236}">
                <a16:creationId xmlns="" xmlns:a16="http://schemas.microsoft.com/office/drawing/2014/main" id="{103DD45C-A87A-4B4C-8D3D-85027567784B}"/>
              </a:ext>
            </a:extLst>
          </p:cNvPr>
          <p:cNvSpPr/>
          <p:nvPr/>
        </p:nvSpPr>
        <p:spPr>
          <a:xfrm>
            <a:off x="1443900" y="1752601"/>
            <a:ext cx="1800000" cy="72000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2" name="Freeform 38">
            <a:extLst>
              <a:ext uri="{FF2B5EF4-FFF2-40B4-BE49-F238E27FC236}">
                <a16:creationId xmlns="" xmlns:a16="http://schemas.microsoft.com/office/drawing/2014/main" id="{E49EC270-F006-4923-8DE8-B4F67D43E83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279078" y="2074617"/>
            <a:ext cx="812422" cy="330742"/>
          </a:xfrm>
          <a:custGeom>
            <a:avLst/>
            <a:gdLst>
              <a:gd name="T0" fmla="*/ 2147483647 w 489"/>
              <a:gd name="T1" fmla="*/ 2147483647 h 228"/>
              <a:gd name="T2" fmla="*/ 2147483647 w 489"/>
              <a:gd name="T3" fmla="*/ 2147483647 h 228"/>
              <a:gd name="T4" fmla="*/ 2147483647 w 489"/>
              <a:gd name="T5" fmla="*/ 2147483647 h 228"/>
              <a:gd name="T6" fmla="*/ 2147483647 w 489"/>
              <a:gd name="T7" fmla="*/ 2147483647 h 228"/>
              <a:gd name="T8" fmla="*/ 2147483647 w 489"/>
              <a:gd name="T9" fmla="*/ 2147483647 h 228"/>
              <a:gd name="T10" fmla="*/ 2147483647 w 489"/>
              <a:gd name="T11" fmla="*/ 2147483647 h 228"/>
              <a:gd name="T12" fmla="*/ 2147483647 w 489"/>
              <a:gd name="T13" fmla="*/ 2147483647 h 228"/>
              <a:gd name="T14" fmla="*/ 2147483647 w 489"/>
              <a:gd name="T15" fmla="*/ 2147483647 h 228"/>
              <a:gd name="T16" fmla="*/ 2147483647 w 489"/>
              <a:gd name="T17" fmla="*/ 2147483647 h 228"/>
              <a:gd name="T18" fmla="*/ 2147483647 w 489"/>
              <a:gd name="T19" fmla="*/ 2147483647 h 228"/>
              <a:gd name="T20" fmla="*/ 2147483647 w 489"/>
              <a:gd name="T21" fmla="*/ 2147483647 h 228"/>
              <a:gd name="T22" fmla="*/ 2147483647 w 489"/>
              <a:gd name="T23" fmla="*/ 2147483647 h 228"/>
              <a:gd name="T24" fmla="*/ 2147483647 w 489"/>
              <a:gd name="T25" fmla="*/ 2147483647 h 228"/>
              <a:gd name="T26" fmla="*/ 2147483647 w 489"/>
              <a:gd name="T27" fmla="*/ 2147483647 h 228"/>
              <a:gd name="T28" fmla="*/ 2147483647 w 489"/>
              <a:gd name="T29" fmla="*/ 2147483647 h 228"/>
              <a:gd name="T30" fmla="*/ 2147483647 w 489"/>
              <a:gd name="T31" fmla="*/ 2147483647 h 228"/>
              <a:gd name="T32" fmla="*/ 2147483647 w 489"/>
              <a:gd name="T33" fmla="*/ 2147483647 h 228"/>
              <a:gd name="T34" fmla="*/ 2147483647 w 489"/>
              <a:gd name="T35" fmla="*/ 2147483647 h 228"/>
              <a:gd name="T36" fmla="*/ 2147483647 w 489"/>
              <a:gd name="T37" fmla="*/ 0 h 228"/>
              <a:gd name="T38" fmla="*/ 2147483647 w 489"/>
              <a:gd name="T39" fmla="*/ 2147483647 h 228"/>
              <a:gd name="T40" fmla="*/ 2147483647 w 489"/>
              <a:gd name="T41" fmla="*/ 2147483647 h 228"/>
              <a:gd name="T42" fmla="*/ 2147483647 w 489"/>
              <a:gd name="T43" fmla="*/ 2147483647 h 228"/>
              <a:gd name="T44" fmla="*/ 2147483647 w 489"/>
              <a:gd name="T45" fmla="*/ 2147483647 h 228"/>
              <a:gd name="T46" fmla="*/ 2147483647 w 489"/>
              <a:gd name="T47" fmla="*/ 2147483647 h 228"/>
              <a:gd name="T48" fmla="*/ 2147483647 w 489"/>
              <a:gd name="T49" fmla="*/ 2147483647 h 228"/>
              <a:gd name="T50" fmla="*/ 2147483647 w 489"/>
              <a:gd name="T51" fmla="*/ 2147483647 h 228"/>
              <a:gd name="T52" fmla="*/ 2147483647 w 489"/>
              <a:gd name="T53" fmla="*/ 2147483647 h 228"/>
              <a:gd name="T54" fmla="*/ 2147483647 w 489"/>
              <a:gd name="T55" fmla="*/ 2147483647 h 228"/>
              <a:gd name="T56" fmla="*/ 2147483647 w 489"/>
              <a:gd name="T57" fmla="*/ 2147483647 h 228"/>
              <a:gd name="T58" fmla="*/ 2147483647 w 489"/>
              <a:gd name="T59" fmla="*/ 2147483647 h 228"/>
              <a:gd name="T60" fmla="*/ 2147483647 w 489"/>
              <a:gd name="T61" fmla="*/ 2147483647 h 228"/>
              <a:gd name="T62" fmla="*/ 2147483647 w 489"/>
              <a:gd name="T63" fmla="*/ 2147483647 h 228"/>
              <a:gd name="T64" fmla="*/ 2147483647 w 489"/>
              <a:gd name="T65" fmla="*/ 2147483647 h 228"/>
              <a:gd name="T66" fmla="*/ 2147483647 w 489"/>
              <a:gd name="T67" fmla="*/ 2147483647 h 228"/>
              <a:gd name="T68" fmla="*/ 2147483647 w 489"/>
              <a:gd name="T69" fmla="*/ 2147483647 h 228"/>
              <a:gd name="T70" fmla="*/ 2147483647 w 489"/>
              <a:gd name="T71" fmla="*/ 2147483647 h 228"/>
              <a:gd name="T72" fmla="*/ 2147483647 w 489"/>
              <a:gd name="T73" fmla="*/ 2147483647 h 228"/>
              <a:gd name="T74" fmla="*/ 2147483647 w 489"/>
              <a:gd name="T75" fmla="*/ 2147483647 h 228"/>
              <a:gd name="T76" fmla="*/ 2147483647 w 489"/>
              <a:gd name="T77" fmla="*/ 2147483647 h 228"/>
              <a:gd name="T78" fmla="*/ 2147483647 w 489"/>
              <a:gd name="T79" fmla="*/ 2147483647 h 228"/>
              <a:gd name="T80" fmla="*/ 2147483647 w 489"/>
              <a:gd name="T81" fmla="*/ 2147483647 h 228"/>
              <a:gd name="T82" fmla="*/ 2147483647 w 489"/>
              <a:gd name="T83" fmla="*/ 2147483647 h 228"/>
              <a:gd name="T84" fmla="*/ 2147483647 w 489"/>
              <a:gd name="T85" fmla="*/ 2147483647 h 228"/>
              <a:gd name="T86" fmla="*/ 2147483647 w 489"/>
              <a:gd name="T87" fmla="*/ 2147483647 h 228"/>
              <a:gd name="T88" fmla="*/ 2147483647 w 489"/>
              <a:gd name="T89" fmla="*/ 2147483647 h 228"/>
              <a:gd name="T90" fmla="*/ 2147483647 w 489"/>
              <a:gd name="T91" fmla="*/ 2147483647 h 228"/>
              <a:gd name="T92" fmla="*/ 2147483647 w 489"/>
              <a:gd name="T93" fmla="*/ 2147483647 h 228"/>
              <a:gd name="T94" fmla="*/ 2147483647 w 489"/>
              <a:gd name="T95" fmla="*/ 2147483647 h 228"/>
              <a:gd name="T96" fmla="*/ 2147483647 w 489"/>
              <a:gd name="T97" fmla="*/ 2147483647 h 228"/>
              <a:gd name="T98" fmla="*/ 2147483647 w 489"/>
              <a:gd name="T99" fmla="*/ 2147483647 h 228"/>
              <a:gd name="T100" fmla="*/ 2147483647 w 489"/>
              <a:gd name="T101" fmla="*/ 2147483647 h 228"/>
              <a:gd name="T102" fmla="*/ 2147483647 w 489"/>
              <a:gd name="T103" fmla="*/ 2147483647 h 228"/>
              <a:gd name="T104" fmla="*/ 2147483647 w 489"/>
              <a:gd name="T105" fmla="*/ 2147483647 h 228"/>
              <a:gd name="T106" fmla="*/ 2147483647 w 489"/>
              <a:gd name="T107" fmla="*/ 2147483647 h 228"/>
              <a:gd name="T108" fmla="*/ 2147483647 w 489"/>
              <a:gd name="T109" fmla="*/ 2147483647 h 228"/>
              <a:gd name="T110" fmla="*/ 2147483647 w 489"/>
              <a:gd name="T111" fmla="*/ 2147483647 h 228"/>
              <a:gd name="T112" fmla="*/ 2147483647 w 489"/>
              <a:gd name="T113" fmla="*/ 2147483647 h 228"/>
              <a:gd name="T114" fmla="*/ 2147483647 w 489"/>
              <a:gd name="T115" fmla="*/ 2147483647 h 228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489" h="228">
                <a:moveTo>
                  <a:pt x="481" y="212"/>
                </a:moveTo>
                <a:cubicBezTo>
                  <a:pt x="8" y="212"/>
                  <a:pt x="8" y="212"/>
                  <a:pt x="8" y="212"/>
                </a:cubicBezTo>
                <a:cubicBezTo>
                  <a:pt x="3" y="212"/>
                  <a:pt x="0" y="216"/>
                  <a:pt x="0" y="220"/>
                </a:cubicBezTo>
                <a:cubicBezTo>
                  <a:pt x="0" y="224"/>
                  <a:pt x="3" y="228"/>
                  <a:pt x="8" y="228"/>
                </a:cubicBezTo>
                <a:cubicBezTo>
                  <a:pt x="481" y="228"/>
                  <a:pt x="481" y="228"/>
                  <a:pt x="481" y="228"/>
                </a:cubicBezTo>
                <a:cubicBezTo>
                  <a:pt x="485" y="228"/>
                  <a:pt x="489" y="224"/>
                  <a:pt x="489" y="220"/>
                </a:cubicBezTo>
                <a:cubicBezTo>
                  <a:pt x="489" y="216"/>
                  <a:pt x="485" y="212"/>
                  <a:pt x="481" y="212"/>
                </a:cubicBezTo>
                <a:close/>
                <a:moveTo>
                  <a:pt x="291" y="99"/>
                </a:moveTo>
                <a:cubicBezTo>
                  <a:pt x="340" y="99"/>
                  <a:pt x="340" y="99"/>
                  <a:pt x="340" y="99"/>
                </a:cubicBezTo>
                <a:cubicBezTo>
                  <a:pt x="346" y="99"/>
                  <a:pt x="351" y="94"/>
                  <a:pt x="351" y="88"/>
                </a:cubicBezTo>
                <a:cubicBezTo>
                  <a:pt x="351" y="80"/>
                  <a:pt x="351" y="80"/>
                  <a:pt x="351" y="80"/>
                </a:cubicBezTo>
                <a:cubicBezTo>
                  <a:pt x="351" y="74"/>
                  <a:pt x="346" y="69"/>
                  <a:pt x="340" y="69"/>
                </a:cubicBezTo>
                <a:cubicBezTo>
                  <a:pt x="291" y="69"/>
                  <a:pt x="291" y="69"/>
                  <a:pt x="291" y="69"/>
                </a:cubicBezTo>
                <a:cubicBezTo>
                  <a:pt x="285" y="69"/>
                  <a:pt x="280" y="74"/>
                  <a:pt x="280" y="80"/>
                </a:cubicBezTo>
                <a:cubicBezTo>
                  <a:pt x="280" y="88"/>
                  <a:pt x="280" y="88"/>
                  <a:pt x="280" y="88"/>
                </a:cubicBezTo>
                <a:cubicBezTo>
                  <a:pt x="280" y="94"/>
                  <a:pt x="285" y="99"/>
                  <a:pt x="291" y="99"/>
                </a:cubicBezTo>
                <a:close/>
                <a:moveTo>
                  <a:pt x="57" y="170"/>
                </a:moveTo>
                <a:cubicBezTo>
                  <a:pt x="71" y="170"/>
                  <a:pt x="71" y="170"/>
                  <a:pt x="71" y="170"/>
                </a:cubicBezTo>
                <a:cubicBezTo>
                  <a:pt x="76" y="181"/>
                  <a:pt x="87" y="187"/>
                  <a:pt x="99" y="187"/>
                </a:cubicBezTo>
                <a:cubicBezTo>
                  <a:pt x="117" y="187"/>
                  <a:pt x="131" y="173"/>
                  <a:pt x="131" y="156"/>
                </a:cubicBezTo>
                <a:cubicBezTo>
                  <a:pt x="139" y="156"/>
                  <a:pt x="139" y="156"/>
                  <a:pt x="139" y="156"/>
                </a:cubicBezTo>
                <a:cubicBezTo>
                  <a:pt x="140" y="173"/>
                  <a:pt x="154" y="187"/>
                  <a:pt x="172" y="187"/>
                </a:cubicBezTo>
                <a:cubicBezTo>
                  <a:pt x="184" y="187"/>
                  <a:pt x="194" y="181"/>
                  <a:pt x="200" y="170"/>
                </a:cubicBezTo>
                <a:cubicBezTo>
                  <a:pt x="281" y="170"/>
                  <a:pt x="281" y="170"/>
                  <a:pt x="281" y="170"/>
                </a:cubicBezTo>
                <a:cubicBezTo>
                  <a:pt x="286" y="181"/>
                  <a:pt x="297" y="187"/>
                  <a:pt x="309" y="187"/>
                </a:cubicBezTo>
                <a:cubicBezTo>
                  <a:pt x="327" y="187"/>
                  <a:pt x="341" y="173"/>
                  <a:pt x="341" y="156"/>
                </a:cubicBezTo>
                <a:cubicBezTo>
                  <a:pt x="349" y="156"/>
                  <a:pt x="349" y="156"/>
                  <a:pt x="349" y="156"/>
                </a:cubicBezTo>
                <a:cubicBezTo>
                  <a:pt x="350" y="173"/>
                  <a:pt x="364" y="187"/>
                  <a:pt x="382" y="187"/>
                </a:cubicBezTo>
                <a:cubicBezTo>
                  <a:pt x="394" y="187"/>
                  <a:pt x="404" y="181"/>
                  <a:pt x="410" y="170"/>
                </a:cubicBezTo>
                <a:cubicBezTo>
                  <a:pt x="432" y="170"/>
                  <a:pt x="432" y="170"/>
                  <a:pt x="432" y="170"/>
                </a:cubicBezTo>
                <a:cubicBezTo>
                  <a:pt x="450" y="170"/>
                  <a:pt x="464" y="156"/>
                  <a:pt x="464" y="138"/>
                </a:cubicBezTo>
                <a:cubicBezTo>
                  <a:pt x="464" y="116"/>
                  <a:pt x="464" y="116"/>
                  <a:pt x="464" y="116"/>
                </a:cubicBezTo>
                <a:cubicBezTo>
                  <a:pt x="464" y="77"/>
                  <a:pt x="400" y="28"/>
                  <a:pt x="349" y="28"/>
                </a:cubicBezTo>
                <a:cubicBezTo>
                  <a:pt x="115" y="28"/>
                  <a:pt x="115" y="28"/>
                  <a:pt x="115" y="28"/>
                </a:cubicBezTo>
                <a:cubicBezTo>
                  <a:pt x="115" y="16"/>
                  <a:pt x="115" y="16"/>
                  <a:pt x="115" y="16"/>
                </a:cubicBezTo>
                <a:cubicBezTo>
                  <a:pt x="152" y="16"/>
                  <a:pt x="152" y="16"/>
                  <a:pt x="152" y="16"/>
                </a:cubicBezTo>
                <a:cubicBezTo>
                  <a:pt x="156" y="16"/>
                  <a:pt x="160" y="12"/>
                  <a:pt x="160" y="8"/>
                </a:cubicBezTo>
                <a:cubicBezTo>
                  <a:pt x="160" y="3"/>
                  <a:pt x="156" y="0"/>
                  <a:pt x="152" y="0"/>
                </a:cubicBezTo>
                <a:cubicBezTo>
                  <a:pt x="62" y="0"/>
                  <a:pt x="62" y="0"/>
                  <a:pt x="62" y="0"/>
                </a:cubicBezTo>
                <a:cubicBezTo>
                  <a:pt x="58" y="0"/>
                  <a:pt x="54" y="3"/>
                  <a:pt x="54" y="8"/>
                </a:cubicBezTo>
                <a:cubicBezTo>
                  <a:pt x="54" y="12"/>
                  <a:pt x="58" y="16"/>
                  <a:pt x="62" y="16"/>
                </a:cubicBezTo>
                <a:cubicBezTo>
                  <a:pt x="99" y="16"/>
                  <a:pt x="99" y="16"/>
                  <a:pt x="99" y="16"/>
                </a:cubicBezTo>
                <a:cubicBezTo>
                  <a:pt x="99" y="28"/>
                  <a:pt x="99" y="28"/>
                  <a:pt x="99" y="28"/>
                </a:cubicBezTo>
                <a:cubicBezTo>
                  <a:pt x="57" y="28"/>
                  <a:pt x="57" y="28"/>
                  <a:pt x="57" y="28"/>
                </a:cubicBezTo>
                <a:cubicBezTo>
                  <a:pt x="39" y="28"/>
                  <a:pt x="25" y="43"/>
                  <a:pt x="25" y="60"/>
                </a:cubicBezTo>
                <a:cubicBezTo>
                  <a:pt x="25" y="69"/>
                  <a:pt x="25" y="69"/>
                  <a:pt x="25" y="69"/>
                </a:cubicBezTo>
                <a:cubicBezTo>
                  <a:pt x="25" y="74"/>
                  <a:pt x="28" y="77"/>
                  <a:pt x="33" y="77"/>
                </a:cubicBezTo>
                <a:cubicBezTo>
                  <a:pt x="37" y="77"/>
                  <a:pt x="41" y="74"/>
                  <a:pt x="41" y="69"/>
                </a:cubicBezTo>
                <a:cubicBezTo>
                  <a:pt x="41" y="60"/>
                  <a:pt x="41" y="60"/>
                  <a:pt x="41" y="60"/>
                </a:cubicBezTo>
                <a:cubicBezTo>
                  <a:pt x="41" y="52"/>
                  <a:pt x="48" y="44"/>
                  <a:pt x="57" y="44"/>
                </a:cubicBezTo>
                <a:cubicBezTo>
                  <a:pt x="349" y="44"/>
                  <a:pt x="349" y="44"/>
                  <a:pt x="349" y="44"/>
                </a:cubicBezTo>
                <a:cubicBezTo>
                  <a:pt x="371" y="44"/>
                  <a:pt x="395" y="55"/>
                  <a:pt x="414" y="69"/>
                </a:cubicBezTo>
                <a:cubicBezTo>
                  <a:pt x="396" y="69"/>
                  <a:pt x="396" y="69"/>
                  <a:pt x="396" y="69"/>
                </a:cubicBezTo>
                <a:cubicBezTo>
                  <a:pt x="389" y="69"/>
                  <a:pt x="384" y="74"/>
                  <a:pt x="384" y="80"/>
                </a:cubicBezTo>
                <a:cubicBezTo>
                  <a:pt x="384" y="88"/>
                  <a:pt x="384" y="88"/>
                  <a:pt x="384" y="88"/>
                </a:cubicBezTo>
                <a:cubicBezTo>
                  <a:pt x="384" y="94"/>
                  <a:pt x="389" y="99"/>
                  <a:pt x="396" y="99"/>
                </a:cubicBezTo>
                <a:cubicBezTo>
                  <a:pt x="442" y="99"/>
                  <a:pt x="442" y="99"/>
                  <a:pt x="442" y="99"/>
                </a:cubicBezTo>
                <a:cubicBezTo>
                  <a:pt x="446" y="105"/>
                  <a:pt x="448" y="111"/>
                  <a:pt x="448" y="116"/>
                </a:cubicBezTo>
                <a:cubicBezTo>
                  <a:pt x="448" y="138"/>
                  <a:pt x="448" y="138"/>
                  <a:pt x="448" y="138"/>
                </a:cubicBezTo>
                <a:cubicBezTo>
                  <a:pt x="448" y="147"/>
                  <a:pt x="441" y="154"/>
                  <a:pt x="432" y="154"/>
                </a:cubicBezTo>
                <a:cubicBezTo>
                  <a:pt x="410" y="154"/>
                  <a:pt x="410" y="154"/>
                  <a:pt x="410" y="154"/>
                </a:cubicBezTo>
                <a:cubicBezTo>
                  <a:pt x="401" y="143"/>
                  <a:pt x="401" y="143"/>
                  <a:pt x="401" y="143"/>
                </a:cubicBezTo>
                <a:cubicBezTo>
                  <a:pt x="399" y="141"/>
                  <a:pt x="397" y="140"/>
                  <a:pt x="395" y="140"/>
                </a:cubicBezTo>
                <a:cubicBezTo>
                  <a:pt x="295" y="140"/>
                  <a:pt x="295" y="140"/>
                  <a:pt x="295" y="140"/>
                </a:cubicBezTo>
                <a:cubicBezTo>
                  <a:pt x="292" y="140"/>
                  <a:pt x="290" y="141"/>
                  <a:pt x="288" y="143"/>
                </a:cubicBezTo>
                <a:cubicBezTo>
                  <a:pt x="281" y="154"/>
                  <a:pt x="281" y="154"/>
                  <a:pt x="281" y="154"/>
                </a:cubicBezTo>
                <a:cubicBezTo>
                  <a:pt x="199" y="154"/>
                  <a:pt x="199" y="154"/>
                  <a:pt x="199" y="154"/>
                </a:cubicBezTo>
                <a:cubicBezTo>
                  <a:pt x="191" y="143"/>
                  <a:pt x="191" y="143"/>
                  <a:pt x="191" y="143"/>
                </a:cubicBezTo>
                <a:cubicBezTo>
                  <a:pt x="189" y="141"/>
                  <a:pt x="187" y="140"/>
                  <a:pt x="184" y="140"/>
                </a:cubicBezTo>
                <a:cubicBezTo>
                  <a:pt x="85" y="140"/>
                  <a:pt x="85" y="140"/>
                  <a:pt x="85" y="140"/>
                </a:cubicBezTo>
                <a:cubicBezTo>
                  <a:pt x="82" y="140"/>
                  <a:pt x="80" y="141"/>
                  <a:pt x="78" y="143"/>
                </a:cubicBezTo>
                <a:cubicBezTo>
                  <a:pt x="71" y="154"/>
                  <a:pt x="71" y="154"/>
                  <a:pt x="71" y="154"/>
                </a:cubicBezTo>
                <a:cubicBezTo>
                  <a:pt x="57" y="154"/>
                  <a:pt x="57" y="154"/>
                  <a:pt x="57" y="154"/>
                </a:cubicBezTo>
                <a:cubicBezTo>
                  <a:pt x="48" y="154"/>
                  <a:pt x="41" y="147"/>
                  <a:pt x="41" y="138"/>
                </a:cubicBezTo>
                <a:cubicBezTo>
                  <a:pt x="41" y="100"/>
                  <a:pt x="41" y="100"/>
                  <a:pt x="41" y="100"/>
                </a:cubicBezTo>
                <a:cubicBezTo>
                  <a:pt x="41" y="96"/>
                  <a:pt x="37" y="92"/>
                  <a:pt x="33" y="92"/>
                </a:cubicBezTo>
                <a:cubicBezTo>
                  <a:pt x="28" y="92"/>
                  <a:pt x="25" y="96"/>
                  <a:pt x="25" y="100"/>
                </a:cubicBezTo>
                <a:cubicBezTo>
                  <a:pt x="25" y="138"/>
                  <a:pt x="25" y="138"/>
                  <a:pt x="25" y="138"/>
                </a:cubicBezTo>
                <a:cubicBezTo>
                  <a:pt x="25" y="156"/>
                  <a:pt x="39" y="170"/>
                  <a:pt x="57" y="170"/>
                </a:cubicBezTo>
                <a:close/>
                <a:moveTo>
                  <a:pt x="391" y="156"/>
                </a:moveTo>
                <a:cubicBezTo>
                  <a:pt x="396" y="163"/>
                  <a:pt x="396" y="163"/>
                  <a:pt x="396" y="163"/>
                </a:cubicBezTo>
                <a:cubicBezTo>
                  <a:pt x="393" y="168"/>
                  <a:pt x="388" y="171"/>
                  <a:pt x="382" y="171"/>
                </a:cubicBezTo>
                <a:cubicBezTo>
                  <a:pt x="373" y="171"/>
                  <a:pt x="366" y="164"/>
                  <a:pt x="365" y="156"/>
                </a:cubicBezTo>
                <a:lnTo>
                  <a:pt x="391" y="156"/>
                </a:lnTo>
                <a:close/>
                <a:moveTo>
                  <a:pt x="299" y="156"/>
                </a:moveTo>
                <a:cubicBezTo>
                  <a:pt x="325" y="156"/>
                  <a:pt x="325" y="156"/>
                  <a:pt x="325" y="156"/>
                </a:cubicBezTo>
                <a:cubicBezTo>
                  <a:pt x="325" y="164"/>
                  <a:pt x="318" y="171"/>
                  <a:pt x="309" y="171"/>
                </a:cubicBezTo>
                <a:cubicBezTo>
                  <a:pt x="303" y="171"/>
                  <a:pt x="297" y="168"/>
                  <a:pt x="295" y="163"/>
                </a:cubicBezTo>
                <a:lnTo>
                  <a:pt x="299" y="156"/>
                </a:lnTo>
                <a:close/>
                <a:moveTo>
                  <a:pt x="180" y="156"/>
                </a:moveTo>
                <a:cubicBezTo>
                  <a:pt x="186" y="163"/>
                  <a:pt x="186" y="163"/>
                  <a:pt x="186" y="163"/>
                </a:cubicBezTo>
                <a:cubicBezTo>
                  <a:pt x="183" y="168"/>
                  <a:pt x="178" y="171"/>
                  <a:pt x="172" y="171"/>
                </a:cubicBezTo>
                <a:cubicBezTo>
                  <a:pt x="163" y="171"/>
                  <a:pt x="156" y="164"/>
                  <a:pt x="156" y="156"/>
                </a:cubicBezTo>
                <a:lnTo>
                  <a:pt x="180" y="156"/>
                </a:lnTo>
                <a:close/>
                <a:moveTo>
                  <a:pt x="89" y="156"/>
                </a:moveTo>
                <a:cubicBezTo>
                  <a:pt x="115" y="156"/>
                  <a:pt x="115" y="156"/>
                  <a:pt x="115" y="156"/>
                </a:cubicBezTo>
                <a:cubicBezTo>
                  <a:pt x="115" y="164"/>
                  <a:pt x="108" y="171"/>
                  <a:pt x="99" y="171"/>
                </a:cubicBezTo>
                <a:cubicBezTo>
                  <a:pt x="93" y="171"/>
                  <a:pt x="87" y="168"/>
                  <a:pt x="85" y="162"/>
                </a:cubicBezTo>
                <a:lnTo>
                  <a:pt x="89" y="156"/>
                </a:lnTo>
                <a:close/>
                <a:moveTo>
                  <a:pt x="236" y="99"/>
                </a:moveTo>
                <a:cubicBezTo>
                  <a:pt x="242" y="99"/>
                  <a:pt x="247" y="94"/>
                  <a:pt x="247" y="88"/>
                </a:cubicBezTo>
                <a:cubicBezTo>
                  <a:pt x="247" y="80"/>
                  <a:pt x="247" y="80"/>
                  <a:pt x="247" y="80"/>
                </a:cubicBezTo>
                <a:cubicBezTo>
                  <a:pt x="247" y="74"/>
                  <a:pt x="242" y="69"/>
                  <a:pt x="236" y="69"/>
                </a:cubicBezTo>
                <a:cubicBezTo>
                  <a:pt x="187" y="69"/>
                  <a:pt x="187" y="69"/>
                  <a:pt x="187" y="69"/>
                </a:cubicBezTo>
                <a:cubicBezTo>
                  <a:pt x="181" y="69"/>
                  <a:pt x="175" y="74"/>
                  <a:pt x="175" y="80"/>
                </a:cubicBezTo>
                <a:cubicBezTo>
                  <a:pt x="175" y="88"/>
                  <a:pt x="175" y="88"/>
                  <a:pt x="175" y="88"/>
                </a:cubicBezTo>
                <a:cubicBezTo>
                  <a:pt x="175" y="94"/>
                  <a:pt x="181" y="99"/>
                  <a:pt x="187" y="99"/>
                </a:cubicBezTo>
                <a:lnTo>
                  <a:pt x="236" y="99"/>
                </a:lnTo>
                <a:close/>
                <a:moveTo>
                  <a:pt x="131" y="99"/>
                </a:moveTo>
                <a:cubicBezTo>
                  <a:pt x="138" y="99"/>
                  <a:pt x="143" y="94"/>
                  <a:pt x="143" y="88"/>
                </a:cubicBezTo>
                <a:cubicBezTo>
                  <a:pt x="143" y="80"/>
                  <a:pt x="143" y="80"/>
                  <a:pt x="143" y="80"/>
                </a:cubicBezTo>
                <a:cubicBezTo>
                  <a:pt x="143" y="74"/>
                  <a:pt x="138" y="69"/>
                  <a:pt x="131" y="69"/>
                </a:cubicBezTo>
                <a:cubicBezTo>
                  <a:pt x="82" y="69"/>
                  <a:pt x="82" y="69"/>
                  <a:pt x="82" y="69"/>
                </a:cubicBezTo>
                <a:cubicBezTo>
                  <a:pt x="76" y="69"/>
                  <a:pt x="71" y="74"/>
                  <a:pt x="71" y="80"/>
                </a:cubicBezTo>
                <a:cubicBezTo>
                  <a:pt x="71" y="88"/>
                  <a:pt x="71" y="88"/>
                  <a:pt x="71" y="88"/>
                </a:cubicBezTo>
                <a:cubicBezTo>
                  <a:pt x="71" y="94"/>
                  <a:pt x="76" y="99"/>
                  <a:pt x="82" y="99"/>
                </a:cubicBezTo>
                <a:lnTo>
                  <a:pt x="131" y="9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lIns="91408" tIns="45718" rIns="91408" bIns="45718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285E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</p:txBody>
      </p:sp>
      <p:sp>
        <p:nvSpPr>
          <p:cNvPr id="203" name="Freeform 6" descr="bpct-blend3">
            <a:extLst>
              <a:ext uri="{FF2B5EF4-FFF2-40B4-BE49-F238E27FC236}">
                <a16:creationId xmlns="" xmlns:a16="http://schemas.microsoft.com/office/drawing/2014/main" id="{554E8F56-FE32-4307-90A3-2C1E4979B34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560579" y="1861067"/>
            <a:ext cx="665125" cy="348944"/>
          </a:xfrm>
          <a:custGeom>
            <a:avLst/>
            <a:gdLst>
              <a:gd name="T0" fmla="*/ 2147483647 w 524"/>
              <a:gd name="T1" fmla="*/ 2147483647 h 279"/>
              <a:gd name="T2" fmla="*/ 2147483647 w 524"/>
              <a:gd name="T3" fmla="*/ 2147483647 h 279"/>
              <a:gd name="T4" fmla="*/ 2147483647 w 524"/>
              <a:gd name="T5" fmla="*/ 2147483647 h 279"/>
              <a:gd name="T6" fmla="*/ 2147483647 w 524"/>
              <a:gd name="T7" fmla="*/ 2147483647 h 279"/>
              <a:gd name="T8" fmla="*/ 2147483647 w 524"/>
              <a:gd name="T9" fmla="*/ 2147483647 h 279"/>
              <a:gd name="T10" fmla="*/ 2147483647 w 524"/>
              <a:gd name="T11" fmla="*/ 2147483647 h 279"/>
              <a:gd name="T12" fmla="*/ 2147483647 w 524"/>
              <a:gd name="T13" fmla="*/ 2147483647 h 279"/>
              <a:gd name="T14" fmla="*/ 2147483647 w 524"/>
              <a:gd name="T15" fmla="*/ 2147483647 h 279"/>
              <a:gd name="T16" fmla="*/ 2147483647 w 524"/>
              <a:gd name="T17" fmla="*/ 2147483647 h 279"/>
              <a:gd name="T18" fmla="*/ 2147483647 w 524"/>
              <a:gd name="T19" fmla="*/ 2147483647 h 279"/>
              <a:gd name="T20" fmla="*/ 2147483647 w 524"/>
              <a:gd name="T21" fmla="*/ 2147483647 h 279"/>
              <a:gd name="T22" fmla="*/ 2147483647 w 524"/>
              <a:gd name="T23" fmla="*/ 2147483647 h 279"/>
              <a:gd name="T24" fmla="*/ 2147483647 w 524"/>
              <a:gd name="T25" fmla="*/ 2147483647 h 279"/>
              <a:gd name="T26" fmla="*/ 2147483647 w 524"/>
              <a:gd name="T27" fmla="*/ 2147483647 h 279"/>
              <a:gd name="T28" fmla="*/ 2147483647 w 524"/>
              <a:gd name="T29" fmla="*/ 2147483647 h 279"/>
              <a:gd name="T30" fmla="*/ 2147483647 w 524"/>
              <a:gd name="T31" fmla="*/ 2147483647 h 279"/>
              <a:gd name="T32" fmla="*/ 2147483647 w 524"/>
              <a:gd name="T33" fmla="*/ 2147483647 h 279"/>
              <a:gd name="T34" fmla="*/ 2147483647 w 524"/>
              <a:gd name="T35" fmla="*/ 2147483647 h 279"/>
              <a:gd name="T36" fmla="*/ 2147483647 w 524"/>
              <a:gd name="T37" fmla="*/ 2147483647 h 279"/>
              <a:gd name="T38" fmla="*/ 2147483647 w 524"/>
              <a:gd name="T39" fmla="*/ 2147483647 h 279"/>
              <a:gd name="T40" fmla="*/ 2147483647 w 524"/>
              <a:gd name="T41" fmla="*/ 2147483647 h 279"/>
              <a:gd name="T42" fmla="*/ 2147483647 w 524"/>
              <a:gd name="T43" fmla="*/ 2147483647 h 279"/>
              <a:gd name="T44" fmla="*/ 2147483647 w 524"/>
              <a:gd name="T45" fmla="*/ 2147483647 h 279"/>
              <a:gd name="T46" fmla="*/ 2147483647 w 524"/>
              <a:gd name="T47" fmla="*/ 2147483647 h 279"/>
              <a:gd name="T48" fmla="*/ 2147483647 w 524"/>
              <a:gd name="T49" fmla="*/ 2147483647 h 279"/>
              <a:gd name="T50" fmla="*/ 2147483647 w 524"/>
              <a:gd name="T51" fmla="*/ 2147483647 h 279"/>
              <a:gd name="T52" fmla="*/ 2147483647 w 524"/>
              <a:gd name="T53" fmla="*/ 2147483647 h 279"/>
              <a:gd name="T54" fmla="*/ 2147483647 w 524"/>
              <a:gd name="T55" fmla="*/ 2147483647 h 279"/>
              <a:gd name="T56" fmla="*/ 2147483647 w 524"/>
              <a:gd name="T57" fmla="*/ 2147483647 h 279"/>
              <a:gd name="T58" fmla="*/ 2147483647 w 524"/>
              <a:gd name="T59" fmla="*/ 2147483647 h 279"/>
              <a:gd name="T60" fmla="*/ 2147483647 w 524"/>
              <a:gd name="T61" fmla="*/ 2147483647 h 279"/>
              <a:gd name="T62" fmla="*/ 2147483647 w 524"/>
              <a:gd name="T63" fmla="*/ 2147483647 h 279"/>
              <a:gd name="T64" fmla="*/ 2147483647 w 524"/>
              <a:gd name="T65" fmla="*/ 2147483647 h 279"/>
              <a:gd name="T66" fmla="*/ 2147483647 w 524"/>
              <a:gd name="T67" fmla="*/ 2147483647 h 279"/>
              <a:gd name="T68" fmla="*/ 2147483647 w 524"/>
              <a:gd name="T69" fmla="*/ 2147483647 h 279"/>
              <a:gd name="T70" fmla="*/ 2147483647 w 524"/>
              <a:gd name="T71" fmla="*/ 2147483647 h 279"/>
              <a:gd name="T72" fmla="*/ 2147483647 w 524"/>
              <a:gd name="T73" fmla="*/ 2147483647 h 279"/>
              <a:gd name="T74" fmla="*/ 2147483647 w 524"/>
              <a:gd name="T75" fmla="*/ 2147483647 h 279"/>
              <a:gd name="T76" fmla="*/ 2147483647 w 524"/>
              <a:gd name="T77" fmla="*/ 0 h 279"/>
              <a:gd name="T78" fmla="*/ 2147483647 w 524"/>
              <a:gd name="T79" fmla="*/ 2147483647 h 279"/>
              <a:gd name="T80" fmla="*/ 2147483647 w 524"/>
              <a:gd name="T81" fmla="*/ 2147483647 h 279"/>
              <a:gd name="T82" fmla="*/ 2147483647 w 524"/>
              <a:gd name="T83" fmla="*/ 2147483647 h 279"/>
              <a:gd name="T84" fmla="*/ 2147483647 w 524"/>
              <a:gd name="T85" fmla="*/ 2147483647 h 279"/>
              <a:gd name="T86" fmla="*/ 2147483647 w 524"/>
              <a:gd name="T87" fmla="*/ 2147483647 h 279"/>
              <a:gd name="T88" fmla="*/ 2147483647 w 524"/>
              <a:gd name="T89" fmla="*/ 2147483647 h 279"/>
              <a:gd name="T90" fmla="*/ 2147483647 w 524"/>
              <a:gd name="T91" fmla="*/ 2147483647 h 279"/>
              <a:gd name="T92" fmla="*/ 2147483647 w 524"/>
              <a:gd name="T93" fmla="*/ 2147483647 h 279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524" h="279">
                <a:moveTo>
                  <a:pt x="481" y="27"/>
                </a:moveTo>
                <a:cubicBezTo>
                  <a:pt x="447" y="27"/>
                  <a:pt x="447" y="27"/>
                  <a:pt x="447" y="27"/>
                </a:cubicBezTo>
                <a:cubicBezTo>
                  <a:pt x="439" y="27"/>
                  <a:pt x="433" y="33"/>
                  <a:pt x="433" y="41"/>
                </a:cubicBezTo>
                <a:cubicBezTo>
                  <a:pt x="433" y="107"/>
                  <a:pt x="433" y="107"/>
                  <a:pt x="433" y="107"/>
                </a:cubicBezTo>
                <a:cubicBezTo>
                  <a:pt x="433" y="115"/>
                  <a:pt x="439" y="122"/>
                  <a:pt x="447" y="122"/>
                </a:cubicBezTo>
                <a:cubicBezTo>
                  <a:pt x="481" y="122"/>
                  <a:pt x="481" y="122"/>
                  <a:pt x="481" y="122"/>
                </a:cubicBezTo>
                <a:cubicBezTo>
                  <a:pt x="488" y="122"/>
                  <a:pt x="495" y="115"/>
                  <a:pt x="495" y="107"/>
                </a:cubicBezTo>
                <a:cubicBezTo>
                  <a:pt x="495" y="41"/>
                  <a:pt x="495" y="41"/>
                  <a:pt x="495" y="41"/>
                </a:cubicBezTo>
                <a:cubicBezTo>
                  <a:pt x="495" y="33"/>
                  <a:pt x="488" y="27"/>
                  <a:pt x="481" y="27"/>
                </a:cubicBezTo>
                <a:close/>
                <a:moveTo>
                  <a:pt x="479" y="106"/>
                </a:moveTo>
                <a:cubicBezTo>
                  <a:pt x="449" y="106"/>
                  <a:pt x="449" y="106"/>
                  <a:pt x="449" y="106"/>
                </a:cubicBezTo>
                <a:cubicBezTo>
                  <a:pt x="449" y="43"/>
                  <a:pt x="449" y="43"/>
                  <a:pt x="449" y="43"/>
                </a:cubicBezTo>
                <a:cubicBezTo>
                  <a:pt x="479" y="43"/>
                  <a:pt x="479" y="43"/>
                  <a:pt x="479" y="43"/>
                </a:cubicBezTo>
                <a:lnTo>
                  <a:pt x="479" y="106"/>
                </a:lnTo>
                <a:close/>
                <a:moveTo>
                  <a:pt x="376" y="27"/>
                </a:moveTo>
                <a:cubicBezTo>
                  <a:pt x="368" y="27"/>
                  <a:pt x="362" y="33"/>
                  <a:pt x="362" y="41"/>
                </a:cubicBezTo>
                <a:cubicBezTo>
                  <a:pt x="362" y="107"/>
                  <a:pt x="362" y="107"/>
                  <a:pt x="362" y="107"/>
                </a:cubicBezTo>
                <a:cubicBezTo>
                  <a:pt x="362" y="115"/>
                  <a:pt x="368" y="122"/>
                  <a:pt x="376" y="122"/>
                </a:cubicBezTo>
                <a:cubicBezTo>
                  <a:pt x="410" y="122"/>
                  <a:pt x="410" y="122"/>
                  <a:pt x="410" y="122"/>
                </a:cubicBezTo>
                <a:cubicBezTo>
                  <a:pt x="418" y="122"/>
                  <a:pt x="424" y="115"/>
                  <a:pt x="424" y="107"/>
                </a:cubicBezTo>
                <a:cubicBezTo>
                  <a:pt x="424" y="41"/>
                  <a:pt x="424" y="41"/>
                  <a:pt x="424" y="41"/>
                </a:cubicBezTo>
                <a:cubicBezTo>
                  <a:pt x="424" y="33"/>
                  <a:pt x="418" y="27"/>
                  <a:pt x="410" y="27"/>
                </a:cubicBezTo>
                <a:lnTo>
                  <a:pt x="376" y="27"/>
                </a:lnTo>
                <a:close/>
                <a:moveTo>
                  <a:pt x="408" y="106"/>
                </a:moveTo>
                <a:cubicBezTo>
                  <a:pt x="378" y="106"/>
                  <a:pt x="378" y="106"/>
                  <a:pt x="378" y="106"/>
                </a:cubicBezTo>
                <a:cubicBezTo>
                  <a:pt x="378" y="43"/>
                  <a:pt x="378" y="43"/>
                  <a:pt x="378" y="43"/>
                </a:cubicBezTo>
                <a:cubicBezTo>
                  <a:pt x="408" y="43"/>
                  <a:pt x="408" y="43"/>
                  <a:pt x="408" y="43"/>
                </a:cubicBezTo>
                <a:lnTo>
                  <a:pt x="408" y="106"/>
                </a:lnTo>
                <a:close/>
                <a:moveTo>
                  <a:pt x="305" y="27"/>
                </a:moveTo>
                <a:cubicBezTo>
                  <a:pt x="298" y="27"/>
                  <a:pt x="291" y="33"/>
                  <a:pt x="291" y="41"/>
                </a:cubicBezTo>
                <a:cubicBezTo>
                  <a:pt x="291" y="107"/>
                  <a:pt x="291" y="107"/>
                  <a:pt x="291" y="107"/>
                </a:cubicBezTo>
                <a:cubicBezTo>
                  <a:pt x="291" y="115"/>
                  <a:pt x="298" y="122"/>
                  <a:pt x="305" y="122"/>
                </a:cubicBezTo>
                <a:cubicBezTo>
                  <a:pt x="339" y="122"/>
                  <a:pt x="339" y="122"/>
                  <a:pt x="339" y="122"/>
                </a:cubicBezTo>
                <a:cubicBezTo>
                  <a:pt x="347" y="122"/>
                  <a:pt x="353" y="115"/>
                  <a:pt x="353" y="107"/>
                </a:cubicBezTo>
                <a:cubicBezTo>
                  <a:pt x="353" y="41"/>
                  <a:pt x="353" y="41"/>
                  <a:pt x="353" y="41"/>
                </a:cubicBezTo>
                <a:cubicBezTo>
                  <a:pt x="353" y="33"/>
                  <a:pt x="347" y="27"/>
                  <a:pt x="339" y="27"/>
                </a:cubicBezTo>
                <a:lnTo>
                  <a:pt x="305" y="27"/>
                </a:lnTo>
                <a:close/>
                <a:moveTo>
                  <a:pt x="337" y="106"/>
                </a:moveTo>
                <a:cubicBezTo>
                  <a:pt x="307" y="106"/>
                  <a:pt x="307" y="106"/>
                  <a:pt x="307" y="106"/>
                </a:cubicBezTo>
                <a:cubicBezTo>
                  <a:pt x="307" y="43"/>
                  <a:pt x="307" y="43"/>
                  <a:pt x="307" y="43"/>
                </a:cubicBezTo>
                <a:cubicBezTo>
                  <a:pt x="337" y="43"/>
                  <a:pt x="337" y="43"/>
                  <a:pt x="337" y="43"/>
                </a:cubicBezTo>
                <a:lnTo>
                  <a:pt x="337" y="106"/>
                </a:lnTo>
                <a:close/>
                <a:moveTo>
                  <a:pt x="235" y="27"/>
                </a:moveTo>
                <a:cubicBezTo>
                  <a:pt x="227" y="27"/>
                  <a:pt x="220" y="33"/>
                  <a:pt x="220" y="41"/>
                </a:cubicBezTo>
                <a:cubicBezTo>
                  <a:pt x="220" y="107"/>
                  <a:pt x="220" y="107"/>
                  <a:pt x="220" y="107"/>
                </a:cubicBezTo>
                <a:cubicBezTo>
                  <a:pt x="220" y="115"/>
                  <a:pt x="227" y="122"/>
                  <a:pt x="235" y="122"/>
                </a:cubicBezTo>
                <a:cubicBezTo>
                  <a:pt x="268" y="122"/>
                  <a:pt x="268" y="122"/>
                  <a:pt x="268" y="122"/>
                </a:cubicBezTo>
                <a:cubicBezTo>
                  <a:pt x="276" y="122"/>
                  <a:pt x="282" y="115"/>
                  <a:pt x="282" y="107"/>
                </a:cubicBezTo>
                <a:cubicBezTo>
                  <a:pt x="282" y="41"/>
                  <a:pt x="282" y="41"/>
                  <a:pt x="282" y="41"/>
                </a:cubicBezTo>
                <a:cubicBezTo>
                  <a:pt x="282" y="33"/>
                  <a:pt x="276" y="27"/>
                  <a:pt x="268" y="27"/>
                </a:cubicBezTo>
                <a:lnTo>
                  <a:pt x="235" y="27"/>
                </a:lnTo>
                <a:close/>
                <a:moveTo>
                  <a:pt x="266" y="106"/>
                </a:moveTo>
                <a:cubicBezTo>
                  <a:pt x="236" y="106"/>
                  <a:pt x="236" y="106"/>
                  <a:pt x="236" y="106"/>
                </a:cubicBezTo>
                <a:cubicBezTo>
                  <a:pt x="236" y="43"/>
                  <a:pt x="236" y="43"/>
                  <a:pt x="236" y="43"/>
                </a:cubicBezTo>
                <a:cubicBezTo>
                  <a:pt x="266" y="43"/>
                  <a:pt x="266" y="43"/>
                  <a:pt x="266" y="43"/>
                </a:cubicBezTo>
                <a:lnTo>
                  <a:pt x="266" y="106"/>
                </a:lnTo>
                <a:close/>
                <a:moveTo>
                  <a:pt x="42" y="27"/>
                </a:moveTo>
                <a:cubicBezTo>
                  <a:pt x="33" y="27"/>
                  <a:pt x="26" y="34"/>
                  <a:pt x="26" y="43"/>
                </a:cubicBezTo>
                <a:cubicBezTo>
                  <a:pt x="26" y="129"/>
                  <a:pt x="26" y="129"/>
                  <a:pt x="26" y="129"/>
                </a:cubicBezTo>
                <a:cubicBezTo>
                  <a:pt x="26" y="137"/>
                  <a:pt x="33" y="145"/>
                  <a:pt x="42" y="145"/>
                </a:cubicBezTo>
                <a:cubicBezTo>
                  <a:pt x="125" y="145"/>
                  <a:pt x="125" y="145"/>
                  <a:pt x="125" y="145"/>
                </a:cubicBezTo>
                <a:cubicBezTo>
                  <a:pt x="134" y="145"/>
                  <a:pt x="141" y="137"/>
                  <a:pt x="141" y="129"/>
                </a:cubicBezTo>
                <a:cubicBezTo>
                  <a:pt x="141" y="43"/>
                  <a:pt x="141" y="43"/>
                  <a:pt x="141" y="43"/>
                </a:cubicBezTo>
                <a:cubicBezTo>
                  <a:pt x="141" y="34"/>
                  <a:pt x="134" y="27"/>
                  <a:pt x="125" y="27"/>
                </a:cubicBezTo>
                <a:lnTo>
                  <a:pt x="42" y="27"/>
                </a:lnTo>
                <a:close/>
                <a:moveTo>
                  <a:pt x="125" y="129"/>
                </a:moveTo>
                <a:cubicBezTo>
                  <a:pt x="125" y="129"/>
                  <a:pt x="125" y="129"/>
                  <a:pt x="125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43"/>
                  <a:pt x="42" y="43"/>
                  <a:pt x="42" y="43"/>
                </a:cubicBezTo>
                <a:cubicBezTo>
                  <a:pt x="42" y="43"/>
                  <a:pt x="42" y="43"/>
                  <a:pt x="42" y="43"/>
                </a:cubicBezTo>
                <a:cubicBezTo>
                  <a:pt x="125" y="43"/>
                  <a:pt x="125" y="43"/>
                  <a:pt x="125" y="43"/>
                </a:cubicBezTo>
                <a:cubicBezTo>
                  <a:pt x="125" y="43"/>
                  <a:pt x="125" y="43"/>
                  <a:pt x="125" y="43"/>
                </a:cubicBezTo>
                <a:lnTo>
                  <a:pt x="125" y="129"/>
                </a:lnTo>
                <a:close/>
                <a:moveTo>
                  <a:pt x="164" y="27"/>
                </a:moveTo>
                <a:cubicBezTo>
                  <a:pt x="156" y="27"/>
                  <a:pt x="150" y="33"/>
                  <a:pt x="150" y="41"/>
                </a:cubicBezTo>
                <a:cubicBezTo>
                  <a:pt x="150" y="208"/>
                  <a:pt x="150" y="208"/>
                  <a:pt x="150" y="208"/>
                </a:cubicBezTo>
                <a:cubicBezTo>
                  <a:pt x="150" y="215"/>
                  <a:pt x="156" y="222"/>
                  <a:pt x="164" y="222"/>
                </a:cubicBezTo>
                <a:cubicBezTo>
                  <a:pt x="197" y="222"/>
                  <a:pt x="197" y="222"/>
                  <a:pt x="197" y="222"/>
                </a:cubicBezTo>
                <a:cubicBezTo>
                  <a:pt x="205" y="222"/>
                  <a:pt x="212" y="215"/>
                  <a:pt x="212" y="208"/>
                </a:cubicBezTo>
                <a:cubicBezTo>
                  <a:pt x="212" y="41"/>
                  <a:pt x="212" y="41"/>
                  <a:pt x="212" y="41"/>
                </a:cubicBezTo>
                <a:cubicBezTo>
                  <a:pt x="212" y="33"/>
                  <a:pt x="205" y="27"/>
                  <a:pt x="197" y="27"/>
                </a:cubicBezTo>
                <a:lnTo>
                  <a:pt x="164" y="27"/>
                </a:lnTo>
                <a:close/>
                <a:moveTo>
                  <a:pt x="196" y="206"/>
                </a:moveTo>
                <a:cubicBezTo>
                  <a:pt x="166" y="206"/>
                  <a:pt x="166" y="206"/>
                  <a:pt x="166" y="206"/>
                </a:cubicBezTo>
                <a:cubicBezTo>
                  <a:pt x="166" y="122"/>
                  <a:pt x="166" y="122"/>
                  <a:pt x="166" y="122"/>
                </a:cubicBezTo>
                <a:cubicBezTo>
                  <a:pt x="196" y="122"/>
                  <a:pt x="196" y="122"/>
                  <a:pt x="196" y="122"/>
                </a:cubicBezTo>
                <a:lnTo>
                  <a:pt x="196" y="206"/>
                </a:lnTo>
                <a:close/>
                <a:moveTo>
                  <a:pt x="196" y="106"/>
                </a:moveTo>
                <a:cubicBezTo>
                  <a:pt x="166" y="106"/>
                  <a:pt x="166" y="106"/>
                  <a:pt x="166" y="106"/>
                </a:cubicBezTo>
                <a:cubicBezTo>
                  <a:pt x="166" y="43"/>
                  <a:pt x="166" y="43"/>
                  <a:pt x="166" y="43"/>
                </a:cubicBezTo>
                <a:cubicBezTo>
                  <a:pt x="196" y="43"/>
                  <a:pt x="196" y="43"/>
                  <a:pt x="196" y="43"/>
                </a:cubicBezTo>
                <a:lnTo>
                  <a:pt x="196" y="106"/>
                </a:lnTo>
                <a:close/>
                <a:moveTo>
                  <a:pt x="516" y="69"/>
                </a:moveTo>
                <a:cubicBezTo>
                  <a:pt x="511" y="69"/>
                  <a:pt x="508" y="72"/>
                  <a:pt x="508" y="77"/>
                </a:cubicBezTo>
                <a:cubicBezTo>
                  <a:pt x="508" y="227"/>
                  <a:pt x="508" y="227"/>
                  <a:pt x="508" y="227"/>
                </a:cubicBezTo>
                <a:cubicBezTo>
                  <a:pt x="508" y="235"/>
                  <a:pt x="501" y="241"/>
                  <a:pt x="493" y="241"/>
                </a:cubicBezTo>
                <a:cubicBezTo>
                  <a:pt x="473" y="241"/>
                  <a:pt x="473" y="241"/>
                  <a:pt x="473" y="241"/>
                </a:cubicBezTo>
                <a:cubicBezTo>
                  <a:pt x="474" y="239"/>
                  <a:pt x="474" y="237"/>
                  <a:pt x="474" y="234"/>
                </a:cubicBezTo>
                <a:cubicBezTo>
                  <a:pt x="474" y="210"/>
                  <a:pt x="454" y="190"/>
                  <a:pt x="429" y="190"/>
                </a:cubicBezTo>
                <a:cubicBezTo>
                  <a:pt x="405" y="190"/>
                  <a:pt x="386" y="209"/>
                  <a:pt x="385" y="233"/>
                </a:cubicBezTo>
                <a:cubicBezTo>
                  <a:pt x="357" y="233"/>
                  <a:pt x="233" y="233"/>
                  <a:pt x="139" y="233"/>
                </a:cubicBezTo>
                <a:cubicBezTo>
                  <a:pt x="138" y="209"/>
                  <a:pt x="119" y="190"/>
                  <a:pt x="95" y="190"/>
                </a:cubicBezTo>
                <a:cubicBezTo>
                  <a:pt x="70" y="190"/>
                  <a:pt x="50" y="210"/>
                  <a:pt x="50" y="234"/>
                </a:cubicBezTo>
                <a:cubicBezTo>
                  <a:pt x="50" y="237"/>
                  <a:pt x="50" y="239"/>
                  <a:pt x="51" y="241"/>
                </a:cubicBezTo>
                <a:cubicBezTo>
                  <a:pt x="38" y="241"/>
                  <a:pt x="30" y="241"/>
                  <a:pt x="30" y="241"/>
                </a:cubicBezTo>
                <a:cubicBezTo>
                  <a:pt x="22" y="241"/>
                  <a:pt x="16" y="235"/>
                  <a:pt x="16" y="227"/>
                </a:cubicBezTo>
                <a:cubicBezTo>
                  <a:pt x="16" y="31"/>
                  <a:pt x="16" y="31"/>
                  <a:pt x="16" y="31"/>
                </a:cubicBezTo>
                <a:cubicBezTo>
                  <a:pt x="16" y="23"/>
                  <a:pt x="22" y="16"/>
                  <a:pt x="30" y="16"/>
                </a:cubicBezTo>
                <a:cubicBezTo>
                  <a:pt x="493" y="16"/>
                  <a:pt x="493" y="16"/>
                  <a:pt x="493" y="16"/>
                </a:cubicBezTo>
                <a:cubicBezTo>
                  <a:pt x="501" y="16"/>
                  <a:pt x="508" y="23"/>
                  <a:pt x="508" y="31"/>
                </a:cubicBezTo>
                <a:cubicBezTo>
                  <a:pt x="508" y="46"/>
                  <a:pt x="508" y="46"/>
                  <a:pt x="508" y="46"/>
                </a:cubicBezTo>
                <a:cubicBezTo>
                  <a:pt x="508" y="50"/>
                  <a:pt x="511" y="54"/>
                  <a:pt x="516" y="54"/>
                </a:cubicBezTo>
                <a:cubicBezTo>
                  <a:pt x="520" y="54"/>
                  <a:pt x="524" y="50"/>
                  <a:pt x="524" y="46"/>
                </a:cubicBezTo>
                <a:cubicBezTo>
                  <a:pt x="524" y="31"/>
                  <a:pt x="524" y="31"/>
                  <a:pt x="524" y="31"/>
                </a:cubicBezTo>
                <a:cubicBezTo>
                  <a:pt x="524" y="14"/>
                  <a:pt x="510" y="0"/>
                  <a:pt x="493" y="0"/>
                </a:cubicBezTo>
                <a:cubicBezTo>
                  <a:pt x="30" y="0"/>
                  <a:pt x="30" y="0"/>
                  <a:pt x="30" y="0"/>
                </a:cubicBezTo>
                <a:cubicBezTo>
                  <a:pt x="13" y="0"/>
                  <a:pt x="0" y="14"/>
                  <a:pt x="0" y="31"/>
                </a:cubicBezTo>
                <a:cubicBezTo>
                  <a:pt x="0" y="227"/>
                  <a:pt x="0" y="227"/>
                  <a:pt x="0" y="227"/>
                </a:cubicBezTo>
                <a:cubicBezTo>
                  <a:pt x="0" y="244"/>
                  <a:pt x="13" y="257"/>
                  <a:pt x="30" y="257"/>
                </a:cubicBezTo>
                <a:cubicBezTo>
                  <a:pt x="30" y="257"/>
                  <a:pt x="33" y="257"/>
                  <a:pt x="37" y="257"/>
                </a:cubicBezTo>
                <a:cubicBezTo>
                  <a:pt x="42" y="257"/>
                  <a:pt x="48" y="257"/>
                  <a:pt x="56" y="257"/>
                </a:cubicBezTo>
                <a:cubicBezTo>
                  <a:pt x="64" y="270"/>
                  <a:pt x="78" y="279"/>
                  <a:pt x="95" y="279"/>
                </a:cubicBezTo>
                <a:cubicBezTo>
                  <a:pt x="114" y="279"/>
                  <a:pt x="131" y="266"/>
                  <a:pt x="137" y="249"/>
                </a:cubicBezTo>
                <a:cubicBezTo>
                  <a:pt x="233" y="249"/>
                  <a:pt x="364" y="249"/>
                  <a:pt x="387" y="249"/>
                </a:cubicBezTo>
                <a:cubicBezTo>
                  <a:pt x="393" y="266"/>
                  <a:pt x="410" y="279"/>
                  <a:pt x="429" y="279"/>
                </a:cubicBezTo>
                <a:cubicBezTo>
                  <a:pt x="446" y="279"/>
                  <a:pt x="460" y="270"/>
                  <a:pt x="468" y="257"/>
                </a:cubicBezTo>
                <a:cubicBezTo>
                  <a:pt x="493" y="257"/>
                  <a:pt x="493" y="257"/>
                  <a:pt x="493" y="257"/>
                </a:cubicBezTo>
                <a:cubicBezTo>
                  <a:pt x="510" y="257"/>
                  <a:pt x="524" y="244"/>
                  <a:pt x="524" y="227"/>
                </a:cubicBezTo>
                <a:cubicBezTo>
                  <a:pt x="524" y="77"/>
                  <a:pt x="524" y="77"/>
                  <a:pt x="524" y="77"/>
                </a:cubicBezTo>
                <a:cubicBezTo>
                  <a:pt x="524" y="72"/>
                  <a:pt x="520" y="69"/>
                  <a:pt x="516" y="69"/>
                </a:cubicBezTo>
                <a:close/>
                <a:moveTo>
                  <a:pt x="95" y="263"/>
                </a:moveTo>
                <a:cubicBezTo>
                  <a:pt x="79" y="263"/>
                  <a:pt x="66" y="250"/>
                  <a:pt x="66" y="234"/>
                </a:cubicBezTo>
                <a:cubicBezTo>
                  <a:pt x="66" y="219"/>
                  <a:pt x="79" y="206"/>
                  <a:pt x="95" y="206"/>
                </a:cubicBezTo>
                <a:cubicBezTo>
                  <a:pt x="110" y="206"/>
                  <a:pt x="123" y="219"/>
                  <a:pt x="123" y="234"/>
                </a:cubicBezTo>
                <a:cubicBezTo>
                  <a:pt x="123" y="250"/>
                  <a:pt x="110" y="263"/>
                  <a:pt x="95" y="263"/>
                </a:cubicBezTo>
                <a:close/>
                <a:moveTo>
                  <a:pt x="429" y="263"/>
                </a:moveTo>
                <a:cubicBezTo>
                  <a:pt x="413" y="263"/>
                  <a:pt x="401" y="250"/>
                  <a:pt x="401" y="234"/>
                </a:cubicBezTo>
                <a:cubicBezTo>
                  <a:pt x="401" y="219"/>
                  <a:pt x="413" y="206"/>
                  <a:pt x="429" y="206"/>
                </a:cubicBezTo>
                <a:cubicBezTo>
                  <a:pt x="445" y="206"/>
                  <a:pt x="458" y="219"/>
                  <a:pt x="458" y="234"/>
                </a:cubicBezTo>
                <a:cubicBezTo>
                  <a:pt x="458" y="250"/>
                  <a:pt x="445" y="263"/>
                  <a:pt x="429" y="26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/>
        </p:spPr>
        <p:txBody>
          <a:bodyPr lIns="91436" tIns="45718" rIns="91436" bIns="45718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96" b="0" i="0" u="none" strike="noStrike" kern="1200" cap="none" spc="0" normalizeH="0" baseline="0" noProof="0">
              <a:ln>
                <a:noFill/>
              </a:ln>
              <a:solidFill>
                <a:srgbClr val="00285E"/>
              </a:solidFill>
              <a:effectLst/>
              <a:uLnTx/>
              <a:uFillTx/>
              <a:latin typeface="Arial" charset="0"/>
              <a:ea typeface="ＭＳ Ｐゴシック" charset="0"/>
              <a:cs typeface="Arial" pitchFamily="34" charset="0"/>
            </a:endParaRPr>
          </a:p>
        </p:txBody>
      </p:sp>
      <p:sp>
        <p:nvSpPr>
          <p:cNvPr id="204" name="Freeform 5">
            <a:extLst>
              <a:ext uri="{FF2B5EF4-FFF2-40B4-BE49-F238E27FC236}">
                <a16:creationId xmlns="" xmlns:a16="http://schemas.microsoft.com/office/drawing/2014/main" id="{EB1594E7-786F-4970-B80D-2CB7E3F723D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217121" y="1861634"/>
            <a:ext cx="78179" cy="78571"/>
          </a:xfrm>
          <a:custGeom>
            <a:avLst/>
            <a:gdLst>
              <a:gd name="T0" fmla="*/ 2147483646 w 144"/>
              <a:gd name="T1" fmla="*/ 2147483646 h 144"/>
              <a:gd name="T2" fmla="*/ 2147483646 w 144"/>
              <a:gd name="T3" fmla="*/ 2147483646 h 144"/>
              <a:gd name="T4" fmla="*/ 2147483646 w 144"/>
              <a:gd name="T5" fmla="*/ 2147483646 h 144"/>
              <a:gd name="T6" fmla="*/ 2147483646 w 144"/>
              <a:gd name="T7" fmla="*/ 2147483646 h 144"/>
              <a:gd name="T8" fmla="*/ 2147483646 w 144"/>
              <a:gd name="T9" fmla="*/ 2147483646 h 144"/>
              <a:gd name="T10" fmla="*/ 2147483646 w 144"/>
              <a:gd name="T11" fmla="*/ 2147483646 h 144"/>
              <a:gd name="T12" fmla="*/ 2147483646 w 144"/>
              <a:gd name="T13" fmla="*/ 2147483646 h 144"/>
              <a:gd name="T14" fmla="*/ 2147483646 w 144"/>
              <a:gd name="T15" fmla="*/ 2147483646 h 144"/>
              <a:gd name="T16" fmla="*/ 2147483646 w 144"/>
              <a:gd name="T17" fmla="*/ 0 h 144"/>
              <a:gd name="T18" fmla="*/ 0 w 144"/>
              <a:gd name="T19" fmla="*/ 2147483646 h 144"/>
              <a:gd name="T20" fmla="*/ 2147483646 w 144"/>
              <a:gd name="T21" fmla="*/ 2147483646 h 144"/>
              <a:gd name="T22" fmla="*/ 2147483646 w 144"/>
              <a:gd name="T23" fmla="*/ 2147483646 h 144"/>
              <a:gd name="T24" fmla="*/ 0 w 144"/>
              <a:gd name="T25" fmla="*/ 2147483646 h 144"/>
              <a:gd name="T26" fmla="*/ 2147483646 w 144"/>
              <a:gd name="T27" fmla="*/ 2147483646 h 144"/>
              <a:gd name="T28" fmla="*/ 2147483646 w 144"/>
              <a:gd name="T29" fmla="*/ 2147483646 h 144"/>
              <a:gd name="T30" fmla="*/ 2147483646 w 144"/>
              <a:gd name="T31" fmla="*/ 2147483646 h 144"/>
              <a:gd name="T32" fmla="*/ 2147483646 w 144"/>
              <a:gd name="T33" fmla="*/ 2147483646 h 144"/>
              <a:gd name="T34" fmla="*/ 2147483646 w 144"/>
              <a:gd name="T35" fmla="*/ 2147483646 h 144"/>
              <a:gd name="T36" fmla="*/ 2147483646 w 144"/>
              <a:gd name="T37" fmla="*/ 2147483646 h 144"/>
              <a:gd name="T38" fmla="*/ 2147483646 w 144"/>
              <a:gd name="T39" fmla="*/ 2147483646 h 144"/>
              <a:gd name="T40" fmla="*/ 2147483646 w 144"/>
              <a:gd name="T41" fmla="*/ 2147483646 h 144"/>
              <a:gd name="T42" fmla="*/ 2147483646 w 144"/>
              <a:gd name="T43" fmla="*/ 2147483646 h 144"/>
              <a:gd name="T44" fmla="*/ 2147483646 w 144"/>
              <a:gd name="T45" fmla="*/ 2147483646 h 144"/>
              <a:gd name="T46" fmla="*/ 2147483646 w 144"/>
              <a:gd name="T47" fmla="*/ 2147483646 h 144"/>
              <a:gd name="T48" fmla="*/ 2147483646 w 144"/>
              <a:gd name="T49" fmla="*/ 2147483646 h 144"/>
              <a:gd name="T50" fmla="*/ 2147483646 w 144"/>
              <a:gd name="T51" fmla="*/ 2147483646 h 144"/>
              <a:gd name="T52" fmla="*/ 0 w 144"/>
              <a:gd name="T53" fmla="*/ 2147483646 h 144"/>
              <a:gd name="T54" fmla="*/ 2147483646 w 144"/>
              <a:gd name="T55" fmla="*/ 2147483646 h 144"/>
              <a:gd name="T56" fmla="*/ 2147483646 w 144"/>
              <a:gd name="T57" fmla="*/ 2147483646 h 144"/>
              <a:gd name="T58" fmla="*/ 2147483646 w 144"/>
              <a:gd name="T59" fmla="*/ 2147483646 h 144"/>
              <a:gd name="T60" fmla="*/ 2147483646 w 144"/>
              <a:gd name="T61" fmla="*/ 2147483646 h 144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44" h="144">
                <a:moveTo>
                  <a:pt x="8" y="16"/>
                </a:moveTo>
                <a:cubicBezTo>
                  <a:pt x="8" y="16"/>
                  <a:pt x="8" y="16"/>
                  <a:pt x="8" y="16"/>
                </a:cubicBezTo>
                <a:cubicBezTo>
                  <a:pt x="41" y="16"/>
                  <a:pt x="71" y="29"/>
                  <a:pt x="93" y="51"/>
                </a:cubicBezTo>
                <a:cubicBezTo>
                  <a:pt x="115" y="73"/>
                  <a:pt x="128" y="103"/>
                  <a:pt x="128" y="136"/>
                </a:cubicBezTo>
                <a:cubicBezTo>
                  <a:pt x="128" y="141"/>
                  <a:pt x="132" y="144"/>
                  <a:pt x="136" y="144"/>
                </a:cubicBezTo>
                <a:cubicBezTo>
                  <a:pt x="138" y="144"/>
                  <a:pt x="140" y="144"/>
                  <a:pt x="142" y="142"/>
                </a:cubicBezTo>
                <a:cubicBezTo>
                  <a:pt x="143" y="141"/>
                  <a:pt x="144" y="139"/>
                  <a:pt x="144" y="136"/>
                </a:cubicBezTo>
                <a:cubicBezTo>
                  <a:pt x="144" y="99"/>
                  <a:pt x="129" y="65"/>
                  <a:pt x="104" y="40"/>
                </a:cubicBezTo>
                <a:cubicBezTo>
                  <a:pt x="79" y="15"/>
                  <a:pt x="45" y="0"/>
                  <a:pt x="8" y="0"/>
                </a:cubicBezTo>
                <a:cubicBezTo>
                  <a:pt x="3" y="0"/>
                  <a:pt x="0" y="3"/>
                  <a:pt x="0" y="8"/>
                </a:cubicBezTo>
                <a:cubicBezTo>
                  <a:pt x="0" y="12"/>
                  <a:pt x="3" y="16"/>
                  <a:pt x="8" y="16"/>
                </a:cubicBezTo>
                <a:close/>
                <a:moveTo>
                  <a:pt x="8" y="77"/>
                </a:moveTo>
                <a:cubicBezTo>
                  <a:pt x="3" y="77"/>
                  <a:pt x="0" y="80"/>
                  <a:pt x="0" y="85"/>
                </a:cubicBezTo>
                <a:cubicBezTo>
                  <a:pt x="0" y="89"/>
                  <a:pt x="3" y="93"/>
                  <a:pt x="8" y="93"/>
                </a:cubicBezTo>
                <a:cubicBezTo>
                  <a:pt x="20" y="93"/>
                  <a:pt x="30" y="98"/>
                  <a:pt x="38" y="106"/>
                </a:cubicBezTo>
                <a:cubicBezTo>
                  <a:pt x="46" y="114"/>
                  <a:pt x="51" y="124"/>
                  <a:pt x="51" y="136"/>
                </a:cubicBezTo>
                <a:cubicBezTo>
                  <a:pt x="51" y="141"/>
                  <a:pt x="55" y="144"/>
                  <a:pt x="59" y="144"/>
                </a:cubicBezTo>
                <a:cubicBezTo>
                  <a:pt x="61" y="144"/>
                  <a:pt x="63" y="144"/>
                  <a:pt x="65" y="142"/>
                </a:cubicBezTo>
                <a:cubicBezTo>
                  <a:pt x="66" y="141"/>
                  <a:pt x="67" y="139"/>
                  <a:pt x="67" y="136"/>
                </a:cubicBezTo>
                <a:cubicBezTo>
                  <a:pt x="67" y="120"/>
                  <a:pt x="60" y="105"/>
                  <a:pt x="50" y="94"/>
                </a:cubicBezTo>
                <a:cubicBezTo>
                  <a:pt x="39" y="84"/>
                  <a:pt x="24" y="77"/>
                  <a:pt x="8" y="77"/>
                </a:cubicBezTo>
                <a:close/>
                <a:moveTo>
                  <a:pt x="98" y="144"/>
                </a:moveTo>
                <a:cubicBezTo>
                  <a:pt x="100" y="144"/>
                  <a:pt x="102" y="144"/>
                  <a:pt x="103" y="142"/>
                </a:cubicBezTo>
                <a:cubicBezTo>
                  <a:pt x="105" y="141"/>
                  <a:pt x="106" y="139"/>
                  <a:pt x="106" y="136"/>
                </a:cubicBezTo>
                <a:cubicBezTo>
                  <a:pt x="106" y="109"/>
                  <a:pt x="95" y="85"/>
                  <a:pt x="77" y="67"/>
                </a:cubicBezTo>
                <a:cubicBezTo>
                  <a:pt x="59" y="49"/>
                  <a:pt x="35" y="38"/>
                  <a:pt x="8" y="38"/>
                </a:cubicBezTo>
                <a:cubicBezTo>
                  <a:pt x="3" y="38"/>
                  <a:pt x="0" y="42"/>
                  <a:pt x="0" y="46"/>
                </a:cubicBezTo>
                <a:cubicBezTo>
                  <a:pt x="0" y="51"/>
                  <a:pt x="3" y="54"/>
                  <a:pt x="8" y="54"/>
                </a:cubicBezTo>
                <a:cubicBezTo>
                  <a:pt x="30" y="54"/>
                  <a:pt x="51" y="64"/>
                  <a:pt x="66" y="78"/>
                </a:cubicBezTo>
                <a:cubicBezTo>
                  <a:pt x="80" y="93"/>
                  <a:pt x="90" y="114"/>
                  <a:pt x="90" y="136"/>
                </a:cubicBezTo>
                <a:cubicBezTo>
                  <a:pt x="90" y="141"/>
                  <a:pt x="93" y="144"/>
                  <a:pt x="98" y="14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285E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05" name="Rectangle: Rounded Corners 204">
            <a:extLst>
              <a:ext uri="{FF2B5EF4-FFF2-40B4-BE49-F238E27FC236}">
                <a16:creationId xmlns="" xmlns:a16="http://schemas.microsoft.com/office/drawing/2014/main" id="{D831EC6B-BE94-4ED7-9B43-0F5ECC10E4FB}"/>
              </a:ext>
            </a:extLst>
          </p:cNvPr>
          <p:cNvSpPr/>
          <p:nvPr/>
        </p:nvSpPr>
        <p:spPr>
          <a:xfrm>
            <a:off x="1443900" y="4127324"/>
            <a:ext cx="9720000" cy="1461676"/>
          </a:xfrm>
          <a:prstGeom prst="roundRect">
            <a:avLst/>
          </a:prstGeom>
          <a:blipFill dpi="0" rotWithShape="1">
            <a:blip r:embed="rId5">
              <a:alphaModFix amt="70000"/>
            </a:blip>
            <a:srcRect/>
            <a:stretch>
              <a:fillRect/>
            </a:stretch>
          </a:blipFill>
          <a:ln w="1270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57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857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857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ilevamento in tempo reale di  guasti del mezzo pubblico e manutenzione predittiva</a:t>
            </a:r>
          </a:p>
        </p:txBody>
      </p:sp>
      <p:sp>
        <p:nvSpPr>
          <p:cNvPr id="206" name="Hexagon 205">
            <a:extLst>
              <a:ext uri="{FF2B5EF4-FFF2-40B4-BE49-F238E27FC236}">
                <a16:creationId xmlns="" xmlns:a16="http://schemas.microsoft.com/office/drawing/2014/main" id="{27A6FCBC-61A4-400B-97C4-8D30574FF81A}"/>
              </a:ext>
            </a:extLst>
          </p:cNvPr>
          <p:cNvSpPr/>
          <p:nvPr/>
        </p:nvSpPr>
        <p:spPr>
          <a:xfrm>
            <a:off x="504000" y="4498162"/>
            <a:ext cx="720000" cy="720000"/>
          </a:xfrm>
          <a:prstGeom prst="hexagon">
            <a:avLst/>
          </a:prstGeom>
          <a:solidFill>
            <a:schemeClr val="bg2">
              <a:lumMod val="25000"/>
            </a:schemeClr>
          </a:solidFill>
          <a:ln w="1270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8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7" name="Rectangle: Rounded Corners 206">
            <a:extLst>
              <a:ext uri="{FF2B5EF4-FFF2-40B4-BE49-F238E27FC236}">
                <a16:creationId xmlns="" xmlns:a16="http://schemas.microsoft.com/office/drawing/2014/main" id="{37A36EAB-5404-4CB7-BD97-DDB91D2B1C81}"/>
              </a:ext>
            </a:extLst>
          </p:cNvPr>
          <p:cNvSpPr/>
          <p:nvPr/>
        </p:nvSpPr>
        <p:spPr>
          <a:xfrm>
            <a:off x="1443900" y="4127325"/>
            <a:ext cx="8530978" cy="720000"/>
          </a:xfrm>
          <a:prstGeom prst="roundRect">
            <a:avLst/>
          </a:prstGeom>
          <a:solidFill>
            <a:srgbClr val="00A9D4"/>
          </a:solidFill>
          <a:ln w="1270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		Telemetria in tempo reale della diagnostica di bordo </a:t>
            </a:r>
          </a:p>
        </p:txBody>
      </p:sp>
      <p:sp>
        <p:nvSpPr>
          <p:cNvPr id="208" name="Rectangle: Rounded Corners 207">
            <a:extLst>
              <a:ext uri="{FF2B5EF4-FFF2-40B4-BE49-F238E27FC236}">
                <a16:creationId xmlns="" xmlns:a16="http://schemas.microsoft.com/office/drawing/2014/main" id="{BF957FAE-EDFD-43FF-99E1-BBC312853422}"/>
              </a:ext>
            </a:extLst>
          </p:cNvPr>
          <p:cNvSpPr/>
          <p:nvPr/>
        </p:nvSpPr>
        <p:spPr>
          <a:xfrm>
            <a:off x="1443900" y="4127325"/>
            <a:ext cx="1800000" cy="720000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 w="12700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9" name="Freeform 6" descr="bpct-blend3">
            <a:extLst>
              <a:ext uri="{FF2B5EF4-FFF2-40B4-BE49-F238E27FC236}">
                <a16:creationId xmlns="" xmlns:a16="http://schemas.microsoft.com/office/drawing/2014/main" id="{8F024860-CEA9-4721-9F91-5872E9B45F1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609687" y="4252394"/>
            <a:ext cx="678489" cy="355955"/>
          </a:xfrm>
          <a:custGeom>
            <a:avLst/>
            <a:gdLst>
              <a:gd name="T0" fmla="*/ 2147483647 w 524"/>
              <a:gd name="T1" fmla="*/ 2147483647 h 279"/>
              <a:gd name="T2" fmla="*/ 2147483647 w 524"/>
              <a:gd name="T3" fmla="*/ 2147483647 h 279"/>
              <a:gd name="T4" fmla="*/ 2147483647 w 524"/>
              <a:gd name="T5" fmla="*/ 2147483647 h 279"/>
              <a:gd name="T6" fmla="*/ 2147483647 w 524"/>
              <a:gd name="T7" fmla="*/ 2147483647 h 279"/>
              <a:gd name="T8" fmla="*/ 2147483647 w 524"/>
              <a:gd name="T9" fmla="*/ 2147483647 h 279"/>
              <a:gd name="T10" fmla="*/ 2147483647 w 524"/>
              <a:gd name="T11" fmla="*/ 2147483647 h 279"/>
              <a:gd name="T12" fmla="*/ 2147483647 w 524"/>
              <a:gd name="T13" fmla="*/ 2147483647 h 279"/>
              <a:gd name="T14" fmla="*/ 2147483647 w 524"/>
              <a:gd name="T15" fmla="*/ 2147483647 h 279"/>
              <a:gd name="T16" fmla="*/ 2147483647 w 524"/>
              <a:gd name="T17" fmla="*/ 2147483647 h 279"/>
              <a:gd name="T18" fmla="*/ 2147483647 w 524"/>
              <a:gd name="T19" fmla="*/ 2147483647 h 279"/>
              <a:gd name="T20" fmla="*/ 2147483647 w 524"/>
              <a:gd name="T21" fmla="*/ 2147483647 h 279"/>
              <a:gd name="T22" fmla="*/ 2147483647 w 524"/>
              <a:gd name="T23" fmla="*/ 2147483647 h 279"/>
              <a:gd name="T24" fmla="*/ 2147483647 w 524"/>
              <a:gd name="T25" fmla="*/ 2147483647 h 279"/>
              <a:gd name="T26" fmla="*/ 2147483647 w 524"/>
              <a:gd name="T27" fmla="*/ 2147483647 h 279"/>
              <a:gd name="T28" fmla="*/ 2147483647 w 524"/>
              <a:gd name="T29" fmla="*/ 2147483647 h 279"/>
              <a:gd name="T30" fmla="*/ 2147483647 w 524"/>
              <a:gd name="T31" fmla="*/ 2147483647 h 279"/>
              <a:gd name="T32" fmla="*/ 2147483647 w 524"/>
              <a:gd name="T33" fmla="*/ 2147483647 h 279"/>
              <a:gd name="T34" fmla="*/ 2147483647 w 524"/>
              <a:gd name="T35" fmla="*/ 2147483647 h 279"/>
              <a:gd name="T36" fmla="*/ 2147483647 w 524"/>
              <a:gd name="T37" fmla="*/ 2147483647 h 279"/>
              <a:gd name="T38" fmla="*/ 2147483647 w 524"/>
              <a:gd name="T39" fmla="*/ 2147483647 h 279"/>
              <a:gd name="T40" fmla="*/ 2147483647 w 524"/>
              <a:gd name="T41" fmla="*/ 2147483647 h 279"/>
              <a:gd name="T42" fmla="*/ 2147483647 w 524"/>
              <a:gd name="T43" fmla="*/ 2147483647 h 279"/>
              <a:gd name="T44" fmla="*/ 2147483647 w 524"/>
              <a:gd name="T45" fmla="*/ 2147483647 h 279"/>
              <a:gd name="T46" fmla="*/ 2147483647 w 524"/>
              <a:gd name="T47" fmla="*/ 2147483647 h 279"/>
              <a:gd name="T48" fmla="*/ 2147483647 w 524"/>
              <a:gd name="T49" fmla="*/ 2147483647 h 279"/>
              <a:gd name="T50" fmla="*/ 2147483647 w 524"/>
              <a:gd name="T51" fmla="*/ 2147483647 h 279"/>
              <a:gd name="T52" fmla="*/ 2147483647 w 524"/>
              <a:gd name="T53" fmla="*/ 2147483647 h 279"/>
              <a:gd name="T54" fmla="*/ 2147483647 w 524"/>
              <a:gd name="T55" fmla="*/ 2147483647 h 279"/>
              <a:gd name="T56" fmla="*/ 2147483647 w 524"/>
              <a:gd name="T57" fmla="*/ 2147483647 h 279"/>
              <a:gd name="T58" fmla="*/ 2147483647 w 524"/>
              <a:gd name="T59" fmla="*/ 2147483647 h 279"/>
              <a:gd name="T60" fmla="*/ 2147483647 w 524"/>
              <a:gd name="T61" fmla="*/ 2147483647 h 279"/>
              <a:gd name="T62" fmla="*/ 2147483647 w 524"/>
              <a:gd name="T63" fmla="*/ 2147483647 h 279"/>
              <a:gd name="T64" fmla="*/ 2147483647 w 524"/>
              <a:gd name="T65" fmla="*/ 2147483647 h 279"/>
              <a:gd name="T66" fmla="*/ 2147483647 w 524"/>
              <a:gd name="T67" fmla="*/ 2147483647 h 279"/>
              <a:gd name="T68" fmla="*/ 2147483647 w 524"/>
              <a:gd name="T69" fmla="*/ 2147483647 h 279"/>
              <a:gd name="T70" fmla="*/ 2147483647 w 524"/>
              <a:gd name="T71" fmla="*/ 2147483647 h 279"/>
              <a:gd name="T72" fmla="*/ 2147483647 w 524"/>
              <a:gd name="T73" fmla="*/ 2147483647 h 279"/>
              <a:gd name="T74" fmla="*/ 2147483647 w 524"/>
              <a:gd name="T75" fmla="*/ 2147483647 h 279"/>
              <a:gd name="T76" fmla="*/ 2147483647 w 524"/>
              <a:gd name="T77" fmla="*/ 0 h 279"/>
              <a:gd name="T78" fmla="*/ 2147483647 w 524"/>
              <a:gd name="T79" fmla="*/ 2147483647 h 279"/>
              <a:gd name="T80" fmla="*/ 2147483647 w 524"/>
              <a:gd name="T81" fmla="*/ 2147483647 h 279"/>
              <a:gd name="T82" fmla="*/ 2147483647 w 524"/>
              <a:gd name="T83" fmla="*/ 2147483647 h 279"/>
              <a:gd name="T84" fmla="*/ 2147483647 w 524"/>
              <a:gd name="T85" fmla="*/ 2147483647 h 279"/>
              <a:gd name="T86" fmla="*/ 2147483647 w 524"/>
              <a:gd name="T87" fmla="*/ 2147483647 h 279"/>
              <a:gd name="T88" fmla="*/ 2147483647 w 524"/>
              <a:gd name="T89" fmla="*/ 2147483647 h 279"/>
              <a:gd name="T90" fmla="*/ 2147483647 w 524"/>
              <a:gd name="T91" fmla="*/ 2147483647 h 279"/>
              <a:gd name="T92" fmla="*/ 2147483647 w 524"/>
              <a:gd name="T93" fmla="*/ 2147483647 h 279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524" h="279">
                <a:moveTo>
                  <a:pt x="481" y="27"/>
                </a:moveTo>
                <a:cubicBezTo>
                  <a:pt x="447" y="27"/>
                  <a:pt x="447" y="27"/>
                  <a:pt x="447" y="27"/>
                </a:cubicBezTo>
                <a:cubicBezTo>
                  <a:pt x="439" y="27"/>
                  <a:pt x="433" y="33"/>
                  <a:pt x="433" y="41"/>
                </a:cubicBezTo>
                <a:cubicBezTo>
                  <a:pt x="433" y="107"/>
                  <a:pt x="433" y="107"/>
                  <a:pt x="433" y="107"/>
                </a:cubicBezTo>
                <a:cubicBezTo>
                  <a:pt x="433" y="115"/>
                  <a:pt x="439" y="122"/>
                  <a:pt x="447" y="122"/>
                </a:cubicBezTo>
                <a:cubicBezTo>
                  <a:pt x="481" y="122"/>
                  <a:pt x="481" y="122"/>
                  <a:pt x="481" y="122"/>
                </a:cubicBezTo>
                <a:cubicBezTo>
                  <a:pt x="488" y="122"/>
                  <a:pt x="495" y="115"/>
                  <a:pt x="495" y="107"/>
                </a:cubicBezTo>
                <a:cubicBezTo>
                  <a:pt x="495" y="41"/>
                  <a:pt x="495" y="41"/>
                  <a:pt x="495" y="41"/>
                </a:cubicBezTo>
                <a:cubicBezTo>
                  <a:pt x="495" y="33"/>
                  <a:pt x="488" y="27"/>
                  <a:pt x="481" y="27"/>
                </a:cubicBezTo>
                <a:close/>
                <a:moveTo>
                  <a:pt x="479" y="106"/>
                </a:moveTo>
                <a:cubicBezTo>
                  <a:pt x="449" y="106"/>
                  <a:pt x="449" y="106"/>
                  <a:pt x="449" y="106"/>
                </a:cubicBezTo>
                <a:cubicBezTo>
                  <a:pt x="449" y="43"/>
                  <a:pt x="449" y="43"/>
                  <a:pt x="449" y="43"/>
                </a:cubicBezTo>
                <a:cubicBezTo>
                  <a:pt x="479" y="43"/>
                  <a:pt x="479" y="43"/>
                  <a:pt x="479" y="43"/>
                </a:cubicBezTo>
                <a:lnTo>
                  <a:pt x="479" y="106"/>
                </a:lnTo>
                <a:close/>
                <a:moveTo>
                  <a:pt x="376" y="27"/>
                </a:moveTo>
                <a:cubicBezTo>
                  <a:pt x="368" y="27"/>
                  <a:pt x="362" y="33"/>
                  <a:pt x="362" y="41"/>
                </a:cubicBezTo>
                <a:cubicBezTo>
                  <a:pt x="362" y="107"/>
                  <a:pt x="362" y="107"/>
                  <a:pt x="362" y="107"/>
                </a:cubicBezTo>
                <a:cubicBezTo>
                  <a:pt x="362" y="115"/>
                  <a:pt x="368" y="122"/>
                  <a:pt x="376" y="122"/>
                </a:cubicBezTo>
                <a:cubicBezTo>
                  <a:pt x="410" y="122"/>
                  <a:pt x="410" y="122"/>
                  <a:pt x="410" y="122"/>
                </a:cubicBezTo>
                <a:cubicBezTo>
                  <a:pt x="418" y="122"/>
                  <a:pt x="424" y="115"/>
                  <a:pt x="424" y="107"/>
                </a:cubicBezTo>
                <a:cubicBezTo>
                  <a:pt x="424" y="41"/>
                  <a:pt x="424" y="41"/>
                  <a:pt x="424" y="41"/>
                </a:cubicBezTo>
                <a:cubicBezTo>
                  <a:pt x="424" y="33"/>
                  <a:pt x="418" y="27"/>
                  <a:pt x="410" y="27"/>
                </a:cubicBezTo>
                <a:lnTo>
                  <a:pt x="376" y="27"/>
                </a:lnTo>
                <a:close/>
                <a:moveTo>
                  <a:pt x="408" y="106"/>
                </a:moveTo>
                <a:cubicBezTo>
                  <a:pt x="378" y="106"/>
                  <a:pt x="378" y="106"/>
                  <a:pt x="378" y="106"/>
                </a:cubicBezTo>
                <a:cubicBezTo>
                  <a:pt x="378" y="43"/>
                  <a:pt x="378" y="43"/>
                  <a:pt x="378" y="43"/>
                </a:cubicBezTo>
                <a:cubicBezTo>
                  <a:pt x="408" y="43"/>
                  <a:pt x="408" y="43"/>
                  <a:pt x="408" y="43"/>
                </a:cubicBezTo>
                <a:lnTo>
                  <a:pt x="408" y="106"/>
                </a:lnTo>
                <a:close/>
                <a:moveTo>
                  <a:pt x="305" y="27"/>
                </a:moveTo>
                <a:cubicBezTo>
                  <a:pt x="298" y="27"/>
                  <a:pt x="291" y="33"/>
                  <a:pt x="291" y="41"/>
                </a:cubicBezTo>
                <a:cubicBezTo>
                  <a:pt x="291" y="107"/>
                  <a:pt x="291" y="107"/>
                  <a:pt x="291" y="107"/>
                </a:cubicBezTo>
                <a:cubicBezTo>
                  <a:pt x="291" y="115"/>
                  <a:pt x="298" y="122"/>
                  <a:pt x="305" y="122"/>
                </a:cubicBezTo>
                <a:cubicBezTo>
                  <a:pt x="339" y="122"/>
                  <a:pt x="339" y="122"/>
                  <a:pt x="339" y="122"/>
                </a:cubicBezTo>
                <a:cubicBezTo>
                  <a:pt x="347" y="122"/>
                  <a:pt x="353" y="115"/>
                  <a:pt x="353" y="107"/>
                </a:cubicBezTo>
                <a:cubicBezTo>
                  <a:pt x="353" y="41"/>
                  <a:pt x="353" y="41"/>
                  <a:pt x="353" y="41"/>
                </a:cubicBezTo>
                <a:cubicBezTo>
                  <a:pt x="353" y="33"/>
                  <a:pt x="347" y="27"/>
                  <a:pt x="339" y="27"/>
                </a:cubicBezTo>
                <a:lnTo>
                  <a:pt x="305" y="27"/>
                </a:lnTo>
                <a:close/>
                <a:moveTo>
                  <a:pt x="337" y="106"/>
                </a:moveTo>
                <a:cubicBezTo>
                  <a:pt x="307" y="106"/>
                  <a:pt x="307" y="106"/>
                  <a:pt x="307" y="106"/>
                </a:cubicBezTo>
                <a:cubicBezTo>
                  <a:pt x="307" y="43"/>
                  <a:pt x="307" y="43"/>
                  <a:pt x="307" y="43"/>
                </a:cubicBezTo>
                <a:cubicBezTo>
                  <a:pt x="337" y="43"/>
                  <a:pt x="337" y="43"/>
                  <a:pt x="337" y="43"/>
                </a:cubicBezTo>
                <a:lnTo>
                  <a:pt x="337" y="106"/>
                </a:lnTo>
                <a:close/>
                <a:moveTo>
                  <a:pt x="235" y="27"/>
                </a:moveTo>
                <a:cubicBezTo>
                  <a:pt x="227" y="27"/>
                  <a:pt x="220" y="33"/>
                  <a:pt x="220" y="41"/>
                </a:cubicBezTo>
                <a:cubicBezTo>
                  <a:pt x="220" y="107"/>
                  <a:pt x="220" y="107"/>
                  <a:pt x="220" y="107"/>
                </a:cubicBezTo>
                <a:cubicBezTo>
                  <a:pt x="220" y="115"/>
                  <a:pt x="227" y="122"/>
                  <a:pt x="235" y="122"/>
                </a:cubicBezTo>
                <a:cubicBezTo>
                  <a:pt x="268" y="122"/>
                  <a:pt x="268" y="122"/>
                  <a:pt x="268" y="122"/>
                </a:cubicBezTo>
                <a:cubicBezTo>
                  <a:pt x="276" y="122"/>
                  <a:pt x="282" y="115"/>
                  <a:pt x="282" y="107"/>
                </a:cubicBezTo>
                <a:cubicBezTo>
                  <a:pt x="282" y="41"/>
                  <a:pt x="282" y="41"/>
                  <a:pt x="282" y="41"/>
                </a:cubicBezTo>
                <a:cubicBezTo>
                  <a:pt x="282" y="33"/>
                  <a:pt x="276" y="27"/>
                  <a:pt x="268" y="27"/>
                </a:cubicBezTo>
                <a:lnTo>
                  <a:pt x="235" y="27"/>
                </a:lnTo>
                <a:close/>
                <a:moveTo>
                  <a:pt x="266" y="106"/>
                </a:moveTo>
                <a:cubicBezTo>
                  <a:pt x="236" y="106"/>
                  <a:pt x="236" y="106"/>
                  <a:pt x="236" y="106"/>
                </a:cubicBezTo>
                <a:cubicBezTo>
                  <a:pt x="236" y="43"/>
                  <a:pt x="236" y="43"/>
                  <a:pt x="236" y="43"/>
                </a:cubicBezTo>
                <a:cubicBezTo>
                  <a:pt x="266" y="43"/>
                  <a:pt x="266" y="43"/>
                  <a:pt x="266" y="43"/>
                </a:cubicBezTo>
                <a:lnTo>
                  <a:pt x="266" y="106"/>
                </a:lnTo>
                <a:close/>
                <a:moveTo>
                  <a:pt x="42" y="27"/>
                </a:moveTo>
                <a:cubicBezTo>
                  <a:pt x="33" y="27"/>
                  <a:pt x="26" y="34"/>
                  <a:pt x="26" y="43"/>
                </a:cubicBezTo>
                <a:cubicBezTo>
                  <a:pt x="26" y="129"/>
                  <a:pt x="26" y="129"/>
                  <a:pt x="26" y="129"/>
                </a:cubicBezTo>
                <a:cubicBezTo>
                  <a:pt x="26" y="137"/>
                  <a:pt x="33" y="145"/>
                  <a:pt x="42" y="145"/>
                </a:cubicBezTo>
                <a:cubicBezTo>
                  <a:pt x="125" y="145"/>
                  <a:pt x="125" y="145"/>
                  <a:pt x="125" y="145"/>
                </a:cubicBezTo>
                <a:cubicBezTo>
                  <a:pt x="134" y="145"/>
                  <a:pt x="141" y="137"/>
                  <a:pt x="141" y="129"/>
                </a:cubicBezTo>
                <a:cubicBezTo>
                  <a:pt x="141" y="43"/>
                  <a:pt x="141" y="43"/>
                  <a:pt x="141" y="43"/>
                </a:cubicBezTo>
                <a:cubicBezTo>
                  <a:pt x="141" y="34"/>
                  <a:pt x="134" y="27"/>
                  <a:pt x="125" y="27"/>
                </a:cubicBezTo>
                <a:lnTo>
                  <a:pt x="42" y="27"/>
                </a:lnTo>
                <a:close/>
                <a:moveTo>
                  <a:pt x="125" y="129"/>
                </a:moveTo>
                <a:cubicBezTo>
                  <a:pt x="125" y="129"/>
                  <a:pt x="125" y="129"/>
                  <a:pt x="125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43"/>
                  <a:pt x="42" y="43"/>
                  <a:pt x="42" y="43"/>
                </a:cubicBezTo>
                <a:cubicBezTo>
                  <a:pt x="42" y="43"/>
                  <a:pt x="42" y="43"/>
                  <a:pt x="42" y="43"/>
                </a:cubicBezTo>
                <a:cubicBezTo>
                  <a:pt x="125" y="43"/>
                  <a:pt x="125" y="43"/>
                  <a:pt x="125" y="43"/>
                </a:cubicBezTo>
                <a:cubicBezTo>
                  <a:pt x="125" y="43"/>
                  <a:pt x="125" y="43"/>
                  <a:pt x="125" y="43"/>
                </a:cubicBezTo>
                <a:lnTo>
                  <a:pt x="125" y="129"/>
                </a:lnTo>
                <a:close/>
                <a:moveTo>
                  <a:pt x="164" y="27"/>
                </a:moveTo>
                <a:cubicBezTo>
                  <a:pt x="156" y="27"/>
                  <a:pt x="150" y="33"/>
                  <a:pt x="150" y="41"/>
                </a:cubicBezTo>
                <a:cubicBezTo>
                  <a:pt x="150" y="208"/>
                  <a:pt x="150" y="208"/>
                  <a:pt x="150" y="208"/>
                </a:cubicBezTo>
                <a:cubicBezTo>
                  <a:pt x="150" y="215"/>
                  <a:pt x="156" y="222"/>
                  <a:pt x="164" y="222"/>
                </a:cubicBezTo>
                <a:cubicBezTo>
                  <a:pt x="197" y="222"/>
                  <a:pt x="197" y="222"/>
                  <a:pt x="197" y="222"/>
                </a:cubicBezTo>
                <a:cubicBezTo>
                  <a:pt x="205" y="222"/>
                  <a:pt x="212" y="215"/>
                  <a:pt x="212" y="208"/>
                </a:cubicBezTo>
                <a:cubicBezTo>
                  <a:pt x="212" y="41"/>
                  <a:pt x="212" y="41"/>
                  <a:pt x="212" y="41"/>
                </a:cubicBezTo>
                <a:cubicBezTo>
                  <a:pt x="212" y="33"/>
                  <a:pt x="205" y="27"/>
                  <a:pt x="197" y="27"/>
                </a:cubicBezTo>
                <a:lnTo>
                  <a:pt x="164" y="27"/>
                </a:lnTo>
                <a:close/>
                <a:moveTo>
                  <a:pt x="196" y="206"/>
                </a:moveTo>
                <a:cubicBezTo>
                  <a:pt x="166" y="206"/>
                  <a:pt x="166" y="206"/>
                  <a:pt x="166" y="206"/>
                </a:cubicBezTo>
                <a:cubicBezTo>
                  <a:pt x="166" y="122"/>
                  <a:pt x="166" y="122"/>
                  <a:pt x="166" y="122"/>
                </a:cubicBezTo>
                <a:cubicBezTo>
                  <a:pt x="196" y="122"/>
                  <a:pt x="196" y="122"/>
                  <a:pt x="196" y="122"/>
                </a:cubicBezTo>
                <a:lnTo>
                  <a:pt x="196" y="206"/>
                </a:lnTo>
                <a:close/>
                <a:moveTo>
                  <a:pt x="196" y="106"/>
                </a:moveTo>
                <a:cubicBezTo>
                  <a:pt x="166" y="106"/>
                  <a:pt x="166" y="106"/>
                  <a:pt x="166" y="106"/>
                </a:cubicBezTo>
                <a:cubicBezTo>
                  <a:pt x="166" y="43"/>
                  <a:pt x="166" y="43"/>
                  <a:pt x="166" y="43"/>
                </a:cubicBezTo>
                <a:cubicBezTo>
                  <a:pt x="196" y="43"/>
                  <a:pt x="196" y="43"/>
                  <a:pt x="196" y="43"/>
                </a:cubicBezTo>
                <a:lnTo>
                  <a:pt x="196" y="106"/>
                </a:lnTo>
                <a:close/>
                <a:moveTo>
                  <a:pt x="516" y="69"/>
                </a:moveTo>
                <a:cubicBezTo>
                  <a:pt x="511" y="69"/>
                  <a:pt x="508" y="72"/>
                  <a:pt x="508" y="77"/>
                </a:cubicBezTo>
                <a:cubicBezTo>
                  <a:pt x="508" y="227"/>
                  <a:pt x="508" y="227"/>
                  <a:pt x="508" y="227"/>
                </a:cubicBezTo>
                <a:cubicBezTo>
                  <a:pt x="508" y="235"/>
                  <a:pt x="501" y="241"/>
                  <a:pt x="493" y="241"/>
                </a:cubicBezTo>
                <a:cubicBezTo>
                  <a:pt x="473" y="241"/>
                  <a:pt x="473" y="241"/>
                  <a:pt x="473" y="241"/>
                </a:cubicBezTo>
                <a:cubicBezTo>
                  <a:pt x="474" y="239"/>
                  <a:pt x="474" y="237"/>
                  <a:pt x="474" y="234"/>
                </a:cubicBezTo>
                <a:cubicBezTo>
                  <a:pt x="474" y="210"/>
                  <a:pt x="454" y="190"/>
                  <a:pt x="429" y="190"/>
                </a:cubicBezTo>
                <a:cubicBezTo>
                  <a:pt x="405" y="190"/>
                  <a:pt x="386" y="209"/>
                  <a:pt x="385" y="233"/>
                </a:cubicBezTo>
                <a:cubicBezTo>
                  <a:pt x="357" y="233"/>
                  <a:pt x="233" y="233"/>
                  <a:pt x="139" y="233"/>
                </a:cubicBezTo>
                <a:cubicBezTo>
                  <a:pt x="138" y="209"/>
                  <a:pt x="119" y="190"/>
                  <a:pt x="95" y="190"/>
                </a:cubicBezTo>
                <a:cubicBezTo>
                  <a:pt x="70" y="190"/>
                  <a:pt x="50" y="210"/>
                  <a:pt x="50" y="234"/>
                </a:cubicBezTo>
                <a:cubicBezTo>
                  <a:pt x="50" y="237"/>
                  <a:pt x="50" y="239"/>
                  <a:pt x="51" y="241"/>
                </a:cubicBezTo>
                <a:cubicBezTo>
                  <a:pt x="38" y="241"/>
                  <a:pt x="30" y="241"/>
                  <a:pt x="30" y="241"/>
                </a:cubicBezTo>
                <a:cubicBezTo>
                  <a:pt x="22" y="241"/>
                  <a:pt x="16" y="235"/>
                  <a:pt x="16" y="227"/>
                </a:cubicBezTo>
                <a:cubicBezTo>
                  <a:pt x="16" y="31"/>
                  <a:pt x="16" y="31"/>
                  <a:pt x="16" y="31"/>
                </a:cubicBezTo>
                <a:cubicBezTo>
                  <a:pt x="16" y="23"/>
                  <a:pt x="22" y="16"/>
                  <a:pt x="30" y="16"/>
                </a:cubicBezTo>
                <a:cubicBezTo>
                  <a:pt x="493" y="16"/>
                  <a:pt x="493" y="16"/>
                  <a:pt x="493" y="16"/>
                </a:cubicBezTo>
                <a:cubicBezTo>
                  <a:pt x="501" y="16"/>
                  <a:pt x="508" y="23"/>
                  <a:pt x="508" y="31"/>
                </a:cubicBezTo>
                <a:cubicBezTo>
                  <a:pt x="508" y="46"/>
                  <a:pt x="508" y="46"/>
                  <a:pt x="508" y="46"/>
                </a:cubicBezTo>
                <a:cubicBezTo>
                  <a:pt x="508" y="50"/>
                  <a:pt x="511" y="54"/>
                  <a:pt x="516" y="54"/>
                </a:cubicBezTo>
                <a:cubicBezTo>
                  <a:pt x="520" y="54"/>
                  <a:pt x="524" y="50"/>
                  <a:pt x="524" y="46"/>
                </a:cubicBezTo>
                <a:cubicBezTo>
                  <a:pt x="524" y="31"/>
                  <a:pt x="524" y="31"/>
                  <a:pt x="524" y="31"/>
                </a:cubicBezTo>
                <a:cubicBezTo>
                  <a:pt x="524" y="14"/>
                  <a:pt x="510" y="0"/>
                  <a:pt x="493" y="0"/>
                </a:cubicBezTo>
                <a:cubicBezTo>
                  <a:pt x="30" y="0"/>
                  <a:pt x="30" y="0"/>
                  <a:pt x="30" y="0"/>
                </a:cubicBezTo>
                <a:cubicBezTo>
                  <a:pt x="13" y="0"/>
                  <a:pt x="0" y="14"/>
                  <a:pt x="0" y="31"/>
                </a:cubicBezTo>
                <a:cubicBezTo>
                  <a:pt x="0" y="227"/>
                  <a:pt x="0" y="227"/>
                  <a:pt x="0" y="227"/>
                </a:cubicBezTo>
                <a:cubicBezTo>
                  <a:pt x="0" y="244"/>
                  <a:pt x="13" y="257"/>
                  <a:pt x="30" y="257"/>
                </a:cubicBezTo>
                <a:cubicBezTo>
                  <a:pt x="30" y="257"/>
                  <a:pt x="33" y="257"/>
                  <a:pt x="37" y="257"/>
                </a:cubicBezTo>
                <a:cubicBezTo>
                  <a:pt x="42" y="257"/>
                  <a:pt x="48" y="257"/>
                  <a:pt x="56" y="257"/>
                </a:cubicBezTo>
                <a:cubicBezTo>
                  <a:pt x="64" y="270"/>
                  <a:pt x="78" y="279"/>
                  <a:pt x="95" y="279"/>
                </a:cubicBezTo>
                <a:cubicBezTo>
                  <a:pt x="114" y="279"/>
                  <a:pt x="131" y="266"/>
                  <a:pt x="137" y="249"/>
                </a:cubicBezTo>
                <a:cubicBezTo>
                  <a:pt x="233" y="249"/>
                  <a:pt x="364" y="249"/>
                  <a:pt x="387" y="249"/>
                </a:cubicBezTo>
                <a:cubicBezTo>
                  <a:pt x="393" y="266"/>
                  <a:pt x="410" y="279"/>
                  <a:pt x="429" y="279"/>
                </a:cubicBezTo>
                <a:cubicBezTo>
                  <a:pt x="446" y="279"/>
                  <a:pt x="460" y="270"/>
                  <a:pt x="468" y="257"/>
                </a:cubicBezTo>
                <a:cubicBezTo>
                  <a:pt x="493" y="257"/>
                  <a:pt x="493" y="257"/>
                  <a:pt x="493" y="257"/>
                </a:cubicBezTo>
                <a:cubicBezTo>
                  <a:pt x="510" y="257"/>
                  <a:pt x="524" y="244"/>
                  <a:pt x="524" y="227"/>
                </a:cubicBezTo>
                <a:cubicBezTo>
                  <a:pt x="524" y="77"/>
                  <a:pt x="524" y="77"/>
                  <a:pt x="524" y="77"/>
                </a:cubicBezTo>
                <a:cubicBezTo>
                  <a:pt x="524" y="72"/>
                  <a:pt x="520" y="69"/>
                  <a:pt x="516" y="69"/>
                </a:cubicBezTo>
                <a:close/>
                <a:moveTo>
                  <a:pt x="95" y="263"/>
                </a:moveTo>
                <a:cubicBezTo>
                  <a:pt x="79" y="263"/>
                  <a:pt x="66" y="250"/>
                  <a:pt x="66" y="234"/>
                </a:cubicBezTo>
                <a:cubicBezTo>
                  <a:pt x="66" y="219"/>
                  <a:pt x="79" y="206"/>
                  <a:pt x="95" y="206"/>
                </a:cubicBezTo>
                <a:cubicBezTo>
                  <a:pt x="110" y="206"/>
                  <a:pt x="123" y="219"/>
                  <a:pt x="123" y="234"/>
                </a:cubicBezTo>
                <a:cubicBezTo>
                  <a:pt x="123" y="250"/>
                  <a:pt x="110" y="263"/>
                  <a:pt x="95" y="263"/>
                </a:cubicBezTo>
                <a:close/>
                <a:moveTo>
                  <a:pt x="429" y="263"/>
                </a:moveTo>
                <a:cubicBezTo>
                  <a:pt x="413" y="263"/>
                  <a:pt x="401" y="250"/>
                  <a:pt x="401" y="234"/>
                </a:cubicBezTo>
                <a:cubicBezTo>
                  <a:pt x="401" y="219"/>
                  <a:pt x="413" y="206"/>
                  <a:pt x="429" y="206"/>
                </a:cubicBezTo>
                <a:cubicBezTo>
                  <a:pt x="445" y="206"/>
                  <a:pt x="458" y="219"/>
                  <a:pt x="458" y="234"/>
                </a:cubicBezTo>
                <a:cubicBezTo>
                  <a:pt x="458" y="250"/>
                  <a:pt x="445" y="263"/>
                  <a:pt x="429" y="26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/>
        </p:spPr>
        <p:txBody>
          <a:bodyPr lIns="91436" tIns="45718" rIns="91436" bIns="45718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96" b="0" i="0" u="none" strike="noStrike" kern="1200" cap="none" spc="0" normalizeH="0" baseline="0" noProof="0">
              <a:ln>
                <a:noFill/>
              </a:ln>
              <a:solidFill>
                <a:srgbClr val="00285E"/>
              </a:solidFill>
              <a:effectLst/>
              <a:uLnTx/>
              <a:uFillTx/>
              <a:latin typeface="Arial" charset="0"/>
              <a:ea typeface="ＭＳ Ｐゴシック" charset="0"/>
              <a:cs typeface="Arial" pitchFamily="34" charset="0"/>
            </a:endParaRPr>
          </a:p>
        </p:txBody>
      </p:sp>
      <p:sp>
        <p:nvSpPr>
          <p:cNvPr id="210" name="Freeform 5">
            <a:extLst>
              <a:ext uri="{FF2B5EF4-FFF2-40B4-BE49-F238E27FC236}">
                <a16:creationId xmlns="" xmlns:a16="http://schemas.microsoft.com/office/drawing/2014/main" id="{CE4308E8-E024-492C-8C67-1595938849D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121871" y="4181631"/>
            <a:ext cx="101857" cy="102368"/>
          </a:xfrm>
          <a:custGeom>
            <a:avLst/>
            <a:gdLst>
              <a:gd name="T0" fmla="*/ 2147483646 w 144"/>
              <a:gd name="T1" fmla="*/ 2147483646 h 144"/>
              <a:gd name="T2" fmla="*/ 2147483646 w 144"/>
              <a:gd name="T3" fmla="*/ 2147483646 h 144"/>
              <a:gd name="T4" fmla="*/ 2147483646 w 144"/>
              <a:gd name="T5" fmla="*/ 2147483646 h 144"/>
              <a:gd name="T6" fmla="*/ 2147483646 w 144"/>
              <a:gd name="T7" fmla="*/ 2147483646 h 144"/>
              <a:gd name="T8" fmla="*/ 2147483646 w 144"/>
              <a:gd name="T9" fmla="*/ 2147483646 h 144"/>
              <a:gd name="T10" fmla="*/ 2147483646 w 144"/>
              <a:gd name="T11" fmla="*/ 2147483646 h 144"/>
              <a:gd name="T12" fmla="*/ 2147483646 w 144"/>
              <a:gd name="T13" fmla="*/ 2147483646 h 144"/>
              <a:gd name="T14" fmla="*/ 2147483646 w 144"/>
              <a:gd name="T15" fmla="*/ 2147483646 h 144"/>
              <a:gd name="T16" fmla="*/ 2147483646 w 144"/>
              <a:gd name="T17" fmla="*/ 0 h 144"/>
              <a:gd name="T18" fmla="*/ 0 w 144"/>
              <a:gd name="T19" fmla="*/ 2147483646 h 144"/>
              <a:gd name="T20" fmla="*/ 2147483646 w 144"/>
              <a:gd name="T21" fmla="*/ 2147483646 h 144"/>
              <a:gd name="T22" fmla="*/ 2147483646 w 144"/>
              <a:gd name="T23" fmla="*/ 2147483646 h 144"/>
              <a:gd name="T24" fmla="*/ 0 w 144"/>
              <a:gd name="T25" fmla="*/ 2147483646 h 144"/>
              <a:gd name="T26" fmla="*/ 2147483646 w 144"/>
              <a:gd name="T27" fmla="*/ 2147483646 h 144"/>
              <a:gd name="T28" fmla="*/ 2147483646 w 144"/>
              <a:gd name="T29" fmla="*/ 2147483646 h 144"/>
              <a:gd name="T30" fmla="*/ 2147483646 w 144"/>
              <a:gd name="T31" fmla="*/ 2147483646 h 144"/>
              <a:gd name="T32" fmla="*/ 2147483646 w 144"/>
              <a:gd name="T33" fmla="*/ 2147483646 h 144"/>
              <a:gd name="T34" fmla="*/ 2147483646 w 144"/>
              <a:gd name="T35" fmla="*/ 2147483646 h 144"/>
              <a:gd name="T36" fmla="*/ 2147483646 w 144"/>
              <a:gd name="T37" fmla="*/ 2147483646 h 144"/>
              <a:gd name="T38" fmla="*/ 2147483646 w 144"/>
              <a:gd name="T39" fmla="*/ 2147483646 h 144"/>
              <a:gd name="T40" fmla="*/ 2147483646 w 144"/>
              <a:gd name="T41" fmla="*/ 2147483646 h 144"/>
              <a:gd name="T42" fmla="*/ 2147483646 w 144"/>
              <a:gd name="T43" fmla="*/ 2147483646 h 144"/>
              <a:gd name="T44" fmla="*/ 2147483646 w 144"/>
              <a:gd name="T45" fmla="*/ 2147483646 h 144"/>
              <a:gd name="T46" fmla="*/ 2147483646 w 144"/>
              <a:gd name="T47" fmla="*/ 2147483646 h 144"/>
              <a:gd name="T48" fmla="*/ 2147483646 w 144"/>
              <a:gd name="T49" fmla="*/ 2147483646 h 144"/>
              <a:gd name="T50" fmla="*/ 2147483646 w 144"/>
              <a:gd name="T51" fmla="*/ 2147483646 h 144"/>
              <a:gd name="T52" fmla="*/ 0 w 144"/>
              <a:gd name="T53" fmla="*/ 2147483646 h 144"/>
              <a:gd name="T54" fmla="*/ 2147483646 w 144"/>
              <a:gd name="T55" fmla="*/ 2147483646 h 144"/>
              <a:gd name="T56" fmla="*/ 2147483646 w 144"/>
              <a:gd name="T57" fmla="*/ 2147483646 h 144"/>
              <a:gd name="T58" fmla="*/ 2147483646 w 144"/>
              <a:gd name="T59" fmla="*/ 2147483646 h 144"/>
              <a:gd name="T60" fmla="*/ 2147483646 w 144"/>
              <a:gd name="T61" fmla="*/ 2147483646 h 144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44" h="144">
                <a:moveTo>
                  <a:pt x="8" y="16"/>
                </a:moveTo>
                <a:cubicBezTo>
                  <a:pt x="8" y="16"/>
                  <a:pt x="8" y="16"/>
                  <a:pt x="8" y="16"/>
                </a:cubicBezTo>
                <a:cubicBezTo>
                  <a:pt x="41" y="16"/>
                  <a:pt x="71" y="29"/>
                  <a:pt x="93" y="51"/>
                </a:cubicBezTo>
                <a:cubicBezTo>
                  <a:pt x="115" y="73"/>
                  <a:pt x="128" y="103"/>
                  <a:pt x="128" y="136"/>
                </a:cubicBezTo>
                <a:cubicBezTo>
                  <a:pt x="128" y="141"/>
                  <a:pt x="132" y="144"/>
                  <a:pt x="136" y="144"/>
                </a:cubicBezTo>
                <a:cubicBezTo>
                  <a:pt x="138" y="144"/>
                  <a:pt x="140" y="144"/>
                  <a:pt x="142" y="142"/>
                </a:cubicBezTo>
                <a:cubicBezTo>
                  <a:pt x="143" y="141"/>
                  <a:pt x="144" y="139"/>
                  <a:pt x="144" y="136"/>
                </a:cubicBezTo>
                <a:cubicBezTo>
                  <a:pt x="144" y="99"/>
                  <a:pt x="129" y="65"/>
                  <a:pt x="104" y="40"/>
                </a:cubicBezTo>
                <a:cubicBezTo>
                  <a:pt x="79" y="15"/>
                  <a:pt x="45" y="0"/>
                  <a:pt x="8" y="0"/>
                </a:cubicBezTo>
                <a:cubicBezTo>
                  <a:pt x="3" y="0"/>
                  <a:pt x="0" y="3"/>
                  <a:pt x="0" y="8"/>
                </a:cubicBezTo>
                <a:cubicBezTo>
                  <a:pt x="0" y="12"/>
                  <a:pt x="3" y="16"/>
                  <a:pt x="8" y="16"/>
                </a:cubicBezTo>
                <a:close/>
                <a:moveTo>
                  <a:pt x="8" y="77"/>
                </a:moveTo>
                <a:cubicBezTo>
                  <a:pt x="3" y="77"/>
                  <a:pt x="0" y="80"/>
                  <a:pt x="0" y="85"/>
                </a:cubicBezTo>
                <a:cubicBezTo>
                  <a:pt x="0" y="89"/>
                  <a:pt x="3" y="93"/>
                  <a:pt x="8" y="93"/>
                </a:cubicBezTo>
                <a:cubicBezTo>
                  <a:pt x="20" y="93"/>
                  <a:pt x="30" y="98"/>
                  <a:pt x="38" y="106"/>
                </a:cubicBezTo>
                <a:cubicBezTo>
                  <a:pt x="46" y="114"/>
                  <a:pt x="51" y="124"/>
                  <a:pt x="51" y="136"/>
                </a:cubicBezTo>
                <a:cubicBezTo>
                  <a:pt x="51" y="141"/>
                  <a:pt x="55" y="144"/>
                  <a:pt x="59" y="144"/>
                </a:cubicBezTo>
                <a:cubicBezTo>
                  <a:pt x="61" y="144"/>
                  <a:pt x="63" y="144"/>
                  <a:pt x="65" y="142"/>
                </a:cubicBezTo>
                <a:cubicBezTo>
                  <a:pt x="66" y="141"/>
                  <a:pt x="67" y="139"/>
                  <a:pt x="67" y="136"/>
                </a:cubicBezTo>
                <a:cubicBezTo>
                  <a:pt x="67" y="120"/>
                  <a:pt x="60" y="105"/>
                  <a:pt x="50" y="94"/>
                </a:cubicBezTo>
                <a:cubicBezTo>
                  <a:pt x="39" y="84"/>
                  <a:pt x="24" y="77"/>
                  <a:pt x="8" y="77"/>
                </a:cubicBezTo>
                <a:close/>
                <a:moveTo>
                  <a:pt x="98" y="144"/>
                </a:moveTo>
                <a:cubicBezTo>
                  <a:pt x="100" y="144"/>
                  <a:pt x="102" y="144"/>
                  <a:pt x="103" y="142"/>
                </a:cubicBezTo>
                <a:cubicBezTo>
                  <a:pt x="105" y="141"/>
                  <a:pt x="106" y="139"/>
                  <a:pt x="106" y="136"/>
                </a:cubicBezTo>
                <a:cubicBezTo>
                  <a:pt x="106" y="109"/>
                  <a:pt x="95" y="85"/>
                  <a:pt x="77" y="67"/>
                </a:cubicBezTo>
                <a:cubicBezTo>
                  <a:pt x="59" y="49"/>
                  <a:pt x="35" y="38"/>
                  <a:pt x="8" y="38"/>
                </a:cubicBezTo>
                <a:cubicBezTo>
                  <a:pt x="3" y="38"/>
                  <a:pt x="0" y="42"/>
                  <a:pt x="0" y="46"/>
                </a:cubicBezTo>
                <a:cubicBezTo>
                  <a:pt x="0" y="51"/>
                  <a:pt x="3" y="54"/>
                  <a:pt x="8" y="54"/>
                </a:cubicBezTo>
                <a:cubicBezTo>
                  <a:pt x="30" y="54"/>
                  <a:pt x="51" y="64"/>
                  <a:pt x="66" y="78"/>
                </a:cubicBezTo>
                <a:cubicBezTo>
                  <a:pt x="80" y="93"/>
                  <a:pt x="90" y="114"/>
                  <a:pt x="90" y="136"/>
                </a:cubicBezTo>
                <a:cubicBezTo>
                  <a:pt x="90" y="141"/>
                  <a:pt x="93" y="144"/>
                  <a:pt x="98" y="14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285E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11" name="Freeform 3">
            <a:extLst>
              <a:ext uri="{FF2B5EF4-FFF2-40B4-BE49-F238E27FC236}">
                <a16:creationId xmlns="" xmlns:a16="http://schemas.microsoft.com/office/drawing/2014/main" id="{8E86A985-13BF-4769-B40F-8E00AB9EF07F}"/>
              </a:ext>
            </a:extLst>
          </p:cNvPr>
          <p:cNvSpPr>
            <a:spLocks noChangeAspect="1" noEditPoints="1"/>
          </p:cNvSpPr>
          <p:nvPr/>
        </p:nvSpPr>
        <p:spPr bwMode="auto">
          <a:xfrm flipH="1">
            <a:off x="2402477" y="4210773"/>
            <a:ext cx="668163" cy="553104"/>
          </a:xfrm>
          <a:custGeom>
            <a:avLst/>
            <a:gdLst>
              <a:gd name="T0" fmla="*/ 2147483647 w 344"/>
              <a:gd name="T1" fmla="*/ 2147483647 h 285"/>
              <a:gd name="T2" fmla="*/ 2147483647 w 344"/>
              <a:gd name="T3" fmla="*/ 2147483647 h 285"/>
              <a:gd name="T4" fmla="*/ 2147483647 w 344"/>
              <a:gd name="T5" fmla="*/ 2147483647 h 285"/>
              <a:gd name="T6" fmla="*/ 2147483647 w 344"/>
              <a:gd name="T7" fmla="*/ 2147483647 h 285"/>
              <a:gd name="T8" fmla="*/ 2147483647 w 344"/>
              <a:gd name="T9" fmla="*/ 2147483647 h 285"/>
              <a:gd name="T10" fmla="*/ 2147483647 w 344"/>
              <a:gd name="T11" fmla="*/ 2147483647 h 285"/>
              <a:gd name="T12" fmla="*/ 2147483647 w 344"/>
              <a:gd name="T13" fmla="*/ 2147483647 h 285"/>
              <a:gd name="T14" fmla="*/ 2147483647 w 344"/>
              <a:gd name="T15" fmla="*/ 2147483647 h 285"/>
              <a:gd name="T16" fmla="*/ 2147483647 w 344"/>
              <a:gd name="T17" fmla="*/ 2147483647 h 285"/>
              <a:gd name="T18" fmla="*/ 2147483647 w 344"/>
              <a:gd name="T19" fmla="*/ 2147483647 h 285"/>
              <a:gd name="T20" fmla="*/ 2147483647 w 344"/>
              <a:gd name="T21" fmla="*/ 2147483647 h 285"/>
              <a:gd name="T22" fmla="*/ 2147483647 w 344"/>
              <a:gd name="T23" fmla="*/ 2147483647 h 285"/>
              <a:gd name="T24" fmla="*/ 2147483647 w 344"/>
              <a:gd name="T25" fmla="*/ 2147483647 h 285"/>
              <a:gd name="T26" fmla="*/ 2147483647 w 344"/>
              <a:gd name="T27" fmla="*/ 2147483647 h 285"/>
              <a:gd name="T28" fmla="*/ 2147483647 w 344"/>
              <a:gd name="T29" fmla="*/ 2147483647 h 285"/>
              <a:gd name="T30" fmla="*/ 2147483647 w 344"/>
              <a:gd name="T31" fmla="*/ 2147483647 h 285"/>
              <a:gd name="T32" fmla="*/ 2147483647 w 344"/>
              <a:gd name="T33" fmla="*/ 2147483647 h 285"/>
              <a:gd name="T34" fmla="*/ 2147483647 w 344"/>
              <a:gd name="T35" fmla="*/ 2147483647 h 285"/>
              <a:gd name="T36" fmla="*/ 2147483647 w 344"/>
              <a:gd name="T37" fmla="*/ 2147483647 h 285"/>
              <a:gd name="T38" fmla="*/ 2147483647 w 344"/>
              <a:gd name="T39" fmla="*/ 2147483647 h 285"/>
              <a:gd name="T40" fmla="*/ 2147483647 w 344"/>
              <a:gd name="T41" fmla="*/ 2147483647 h 285"/>
              <a:gd name="T42" fmla="*/ 2147483647 w 344"/>
              <a:gd name="T43" fmla="*/ 2147483647 h 285"/>
              <a:gd name="T44" fmla="*/ 2147483647 w 344"/>
              <a:gd name="T45" fmla="*/ 2147483647 h 285"/>
              <a:gd name="T46" fmla="*/ 2147483647 w 344"/>
              <a:gd name="T47" fmla="*/ 2147483647 h 285"/>
              <a:gd name="T48" fmla="*/ 2147483647 w 344"/>
              <a:gd name="T49" fmla="*/ 2147483647 h 285"/>
              <a:gd name="T50" fmla="*/ 2147483647 w 344"/>
              <a:gd name="T51" fmla="*/ 2147483647 h 285"/>
              <a:gd name="T52" fmla="*/ 2147483647 w 344"/>
              <a:gd name="T53" fmla="*/ 2147483647 h 285"/>
              <a:gd name="T54" fmla="*/ 2147483647 w 344"/>
              <a:gd name="T55" fmla="*/ 2147483647 h 285"/>
              <a:gd name="T56" fmla="*/ 2147483647 w 344"/>
              <a:gd name="T57" fmla="*/ 2147483647 h 285"/>
              <a:gd name="T58" fmla="*/ 2147483647 w 344"/>
              <a:gd name="T59" fmla="*/ 2147483647 h 285"/>
              <a:gd name="T60" fmla="*/ 2147483647 w 344"/>
              <a:gd name="T61" fmla="*/ 2147483647 h 285"/>
              <a:gd name="T62" fmla="*/ 2147483647 w 344"/>
              <a:gd name="T63" fmla="*/ 2147483647 h 285"/>
              <a:gd name="T64" fmla="*/ 2147483647 w 344"/>
              <a:gd name="T65" fmla="*/ 2147483647 h 285"/>
              <a:gd name="T66" fmla="*/ 2147483647 w 344"/>
              <a:gd name="T67" fmla="*/ 2147483647 h 285"/>
              <a:gd name="T68" fmla="*/ 2147483647 w 344"/>
              <a:gd name="T69" fmla="*/ 2147483647 h 285"/>
              <a:gd name="T70" fmla="*/ 2147483647 w 344"/>
              <a:gd name="T71" fmla="*/ 2147483647 h 285"/>
              <a:gd name="T72" fmla="*/ 2147483647 w 344"/>
              <a:gd name="T73" fmla="*/ 2147483647 h 285"/>
              <a:gd name="T74" fmla="*/ 2147483647 w 344"/>
              <a:gd name="T75" fmla="*/ 2147483647 h 285"/>
              <a:gd name="T76" fmla="*/ 2147483647 w 344"/>
              <a:gd name="T77" fmla="*/ 2147483647 h 285"/>
              <a:gd name="T78" fmla="*/ 2147483647 w 344"/>
              <a:gd name="T79" fmla="*/ 2147483647 h 285"/>
              <a:gd name="T80" fmla="*/ 2147483647 w 344"/>
              <a:gd name="T81" fmla="*/ 2147483647 h 285"/>
              <a:gd name="T82" fmla="*/ 2147483647 w 344"/>
              <a:gd name="T83" fmla="*/ 2147483647 h 285"/>
              <a:gd name="T84" fmla="*/ 2147483647 w 344"/>
              <a:gd name="T85" fmla="*/ 2147483647 h 285"/>
              <a:gd name="T86" fmla="*/ 2147483647 w 344"/>
              <a:gd name="T87" fmla="*/ 2147483647 h 285"/>
              <a:gd name="T88" fmla="*/ 2147483647 w 344"/>
              <a:gd name="T89" fmla="*/ 2147483647 h 285"/>
              <a:gd name="T90" fmla="*/ 2147483647 w 344"/>
              <a:gd name="T91" fmla="*/ 2147483647 h 285"/>
              <a:gd name="T92" fmla="*/ 2147483647 w 344"/>
              <a:gd name="T93" fmla="*/ 2147483647 h 285"/>
              <a:gd name="T94" fmla="*/ 2147483647 w 344"/>
              <a:gd name="T95" fmla="*/ 2147483647 h 285"/>
              <a:gd name="T96" fmla="*/ 2147483647 w 344"/>
              <a:gd name="T97" fmla="*/ 2147483647 h 285"/>
              <a:gd name="T98" fmla="*/ 2147483647 w 344"/>
              <a:gd name="T99" fmla="*/ 2147483647 h 285"/>
              <a:gd name="T100" fmla="*/ 2147483647 w 344"/>
              <a:gd name="T101" fmla="*/ 2147483647 h 285"/>
              <a:gd name="T102" fmla="*/ 2147483647 w 344"/>
              <a:gd name="T103" fmla="*/ 2147483647 h 285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344" h="285">
                <a:moveTo>
                  <a:pt x="131" y="2"/>
                </a:moveTo>
                <a:cubicBezTo>
                  <a:pt x="127" y="0"/>
                  <a:pt x="122" y="2"/>
                  <a:pt x="120" y="6"/>
                </a:cubicBezTo>
                <a:cubicBezTo>
                  <a:pt x="2" y="273"/>
                  <a:pt x="2" y="273"/>
                  <a:pt x="2" y="273"/>
                </a:cubicBezTo>
                <a:cubicBezTo>
                  <a:pt x="0" y="278"/>
                  <a:pt x="2" y="282"/>
                  <a:pt x="6" y="284"/>
                </a:cubicBezTo>
                <a:cubicBezTo>
                  <a:pt x="7" y="285"/>
                  <a:pt x="8" y="285"/>
                  <a:pt x="9" y="285"/>
                </a:cubicBezTo>
                <a:cubicBezTo>
                  <a:pt x="12" y="285"/>
                  <a:pt x="15" y="283"/>
                  <a:pt x="16" y="280"/>
                </a:cubicBezTo>
                <a:cubicBezTo>
                  <a:pt x="135" y="12"/>
                  <a:pt x="135" y="12"/>
                  <a:pt x="135" y="12"/>
                </a:cubicBezTo>
                <a:cubicBezTo>
                  <a:pt x="137" y="8"/>
                  <a:pt x="135" y="3"/>
                  <a:pt x="131" y="2"/>
                </a:cubicBezTo>
                <a:close/>
                <a:moveTo>
                  <a:pt x="172" y="1"/>
                </a:moveTo>
                <a:cubicBezTo>
                  <a:pt x="168" y="1"/>
                  <a:pt x="164" y="4"/>
                  <a:pt x="164" y="9"/>
                </a:cubicBezTo>
                <a:cubicBezTo>
                  <a:pt x="164" y="25"/>
                  <a:pt x="164" y="25"/>
                  <a:pt x="164" y="25"/>
                </a:cubicBezTo>
                <a:cubicBezTo>
                  <a:pt x="164" y="29"/>
                  <a:pt x="168" y="33"/>
                  <a:pt x="172" y="33"/>
                </a:cubicBezTo>
                <a:cubicBezTo>
                  <a:pt x="177" y="33"/>
                  <a:pt x="180" y="29"/>
                  <a:pt x="180" y="25"/>
                </a:cubicBezTo>
                <a:cubicBezTo>
                  <a:pt x="180" y="9"/>
                  <a:pt x="180" y="9"/>
                  <a:pt x="180" y="9"/>
                </a:cubicBezTo>
                <a:cubicBezTo>
                  <a:pt x="180" y="4"/>
                  <a:pt x="177" y="1"/>
                  <a:pt x="172" y="1"/>
                </a:cubicBezTo>
                <a:close/>
                <a:moveTo>
                  <a:pt x="172" y="159"/>
                </a:moveTo>
                <a:cubicBezTo>
                  <a:pt x="168" y="159"/>
                  <a:pt x="164" y="162"/>
                  <a:pt x="164" y="167"/>
                </a:cubicBezTo>
                <a:cubicBezTo>
                  <a:pt x="164" y="202"/>
                  <a:pt x="164" y="202"/>
                  <a:pt x="164" y="202"/>
                </a:cubicBezTo>
                <a:cubicBezTo>
                  <a:pt x="164" y="207"/>
                  <a:pt x="168" y="210"/>
                  <a:pt x="172" y="210"/>
                </a:cubicBezTo>
                <a:cubicBezTo>
                  <a:pt x="177" y="210"/>
                  <a:pt x="180" y="207"/>
                  <a:pt x="180" y="202"/>
                </a:cubicBezTo>
                <a:cubicBezTo>
                  <a:pt x="180" y="167"/>
                  <a:pt x="180" y="167"/>
                  <a:pt x="180" y="167"/>
                </a:cubicBezTo>
                <a:cubicBezTo>
                  <a:pt x="180" y="162"/>
                  <a:pt x="177" y="159"/>
                  <a:pt x="172" y="159"/>
                </a:cubicBezTo>
                <a:close/>
                <a:moveTo>
                  <a:pt x="172" y="70"/>
                </a:moveTo>
                <a:cubicBezTo>
                  <a:pt x="168" y="70"/>
                  <a:pt x="164" y="74"/>
                  <a:pt x="164" y="78"/>
                </a:cubicBezTo>
                <a:cubicBezTo>
                  <a:pt x="164" y="114"/>
                  <a:pt x="164" y="114"/>
                  <a:pt x="164" y="114"/>
                </a:cubicBezTo>
                <a:cubicBezTo>
                  <a:pt x="164" y="118"/>
                  <a:pt x="168" y="122"/>
                  <a:pt x="172" y="122"/>
                </a:cubicBezTo>
                <a:cubicBezTo>
                  <a:pt x="177" y="122"/>
                  <a:pt x="180" y="118"/>
                  <a:pt x="180" y="114"/>
                </a:cubicBezTo>
                <a:cubicBezTo>
                  <a:pt x="180" y="78"/>
                  <a:pt x="180" y="78"/>
                  <a:pt x="180" y="78"/>
                </a:cubicBezTo>
                <a:cubicBezTo>
                  <a:pt x="180" y="74"/>
                  <a:pt x="177" y="70"/>
                  <a:pt x="172" y="70"/>
                </a:cubicBezTo>
                <a:close/>
                <a:moveTo>
                  <a:pt x="172" y="247"/>
                </a:moveTo>
                <a:cubicBezTo>
                  <a:pt x="168" y="247"/>
                  <a:pt x="164" y="251"/>
                  <a:pt x="164" y="255"/>
                </a:cubicBezTo>
                <a:cubicBezTo>
                  <a:pt x="164" y="271"/>
                  <a:pt x="164" y="271"/>
                  <a:pt x="164" y="271"/>
                </a:cubicBezTo>
                <a:cubicBezTo>
                  <a:pt x="164" y="276"/>
                  <a:pt x="168" y="279"/>
                  <a:pt x="172" y="279"/>
                </a:cubicBezTo>
                <a:cubicBezTo>
                  <a:pt x="177" y="279"/>
                  <a:pt x="180" y="276"/>
                  <a:pt x="180" y="271"/>
                </a:cubicBezTo>
                <a:cubicBezTo>
                  <a:pt x="180" y="255"/>
                  <a:pt x="180" y="255"/>
                  <a:pt x="180" y="255"/>
                </a:cubicBezTo>
                <a:cubicBezTo>
                  <a:pt x="180" y="251"/>
                  <a:pt x="177" y="247"/>
                  <a:pt x="172" y="247"/>
                </a:cubicBezTo>
                <a:close/>
                <a:moveTo>
                  <a:pt x="235" y="30"/>
                </a:moveTo>
                <a:cubicBezTo>
                  <a:pt x="224" y="6"/>
                  <a:pt x="224" y="6"/>
                  <a:pt x="224" y="6"/>
                </a:cubicBezTo>
                <a:cubicBezTo>
                  <a:pt x="222" y="2"/>
                  <a:pt x="218" y="0"/>
                  <a:pt x="213" y="2"/>
                </a:cubicBezTo>
                <a:cubicBezTo>
                  <a:pt x="209" y="3"/>
                  <a:pt x="208" y="8"/>
                  <a:pt x="209" y="12"/>
                </a:cubicBezTo>
                <a:cubicBezTo>
                  <a:pt x="220" y="36"/>
                  <a:pt x="220" y="36"/>
                  <a:pt x="220" y="36"/>
                </a:cubicBezTo>
                <a:cubicBezTo>
                  <a:pt x="222" y="39"/>
                  <a:pt x="224" y="41"/>
                  <a:pt x="227" y="41"/>
                </a:cubicBezTo>
                <a:cubicBezTo>
                  <a:pt x="229" y="41"/>
                  <a:pt x="230" y="41"/>
                  <a:pt x="231" y="41"/>
                </a:cubicBezTo>
                <a:cubicBezTo>
                  <a:pt x="235" y="39"/>
                  <a:pt x="237" y="34"/>
                  <a:pt x="235" y="30"/>
                </a:cubicBezTo>
                <a:close/>
                <a:moveTo>
                  <a:pt x="343" y="273"/>
                </a:moveTo>
                <a:cubicBezTo>
                  <a:pt x="248" y="60"/>
                  <a:pt x="248" y="60"/>
                  <a:pt x="248" y="60"/>
                </a:cubicBezTo>
                <a:cubicBezTo>
                  <a:pt x="246" y="56"/>
                  <a:pt x="241" y="54"/>
                  <a:pt x="237" y="56"/>
                </a:cubicBezTo>
                <a:cubicBezTo>
                  <a:pt x="233" y="58"/>
                  <a:pt x="232" y="62"/>
                  <a:pt x="233" y="66"/>
                </a:cubicBezTo>
                <a:cubicBezTo>
                  <a:pt x="328" y="280"/>
                  <a:pt x="328" y="280"/>
                  <a:pt x="328" y="280"/>
                </a:cubicBezTo>
                <a:cubicBezTo>
                  <a:pt x="329" y="283"/>
                  <a:pt x="332" y="285"/>
                  <a:pt x="335" y="285"/>
                </a:cubicBezTo>
                <a:cubicBezTo>
                  <a:pt x="336" y="285"/>
                  <a:pt x="337" y="285"/>
                  <a:pt x="339" y="284"/>
                </a:cubicBezTo>
                <a:cubicBezTo>
                  <a:pt x="343" y="282"/>
                  <a:pt x="344" y="278"/>
                  <a:pt x="343" y="27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="" xmlns:a16="http://schemas.microsoft.com/office/drawing/2014/main" id="{02BB8413-8EF0-214B-85EC-4E09DF8A7ED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7588" y="113791"/>
            <a:ext cx="10769600" cy="1612900"/>
          </a:xfrm>
          <a:prstGeom prst="rect">
            <a:avLst/>
          </a:prstGeom>
        </p:spPr>
      </p:pic>
      <p:pic>
        <p:nvPicPr>
          <p:cNvPr id="22" name="Econ2011">
            <a:extLst>
              <a:ext uri="{FF2B5EF4-FFF2-40B4-BE49-F238E27FC236}">
                <a16:creationId xmlns="" xmlns:a16="http://schemas.microsoft.com/office/drawing/2014/main" id="{4C4C3131-4E90-D045-92E5-A2AF93859D7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09564" y="360000"/>
            <a:ext cx="444500" cy="58719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="" xmlns:a16="http://schemas.microsoft.com/office/drawing/2014/main" id="{0514C541-280F-EE4F-AAB8-2E93F687E023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132078"/>
            <a:ext cx="12192000" cy="725921"/>
          </a:xfrm>
          <a:prstGeom prst="rect">
            <a:avLst/>
          </a:prstGeom>
        </p:spPr>
      </p:pic>
      <p:sp>
        <p:nvSpPr>
          <p:cNvPr id="20" name="CasellaDiTesto 19"/>
          <p:cNvSpPr txBox="1"/>
          <p:nvPr/>
        </p:nvSpPr>
        <p:spPr>
          <a:xfrm>
            <a:off x="488400" y="2098717"/>
            <a:ext cx="7464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4400" dirty="0">
                <a:solidFill>
                  <a:schemeClr val="bg1"/>
                </a:solidFill>
              </a:rPr>
              <a:t>C</a:t>
            </a:r>
            <a:endParaRPr lang="it-IT" sz="4000" dirty="0">
              <a:solidFill>
                <a:schemeClr val="bg1"/>
              </a:solidFill>
            </a:endParaRPr>
          </a:p>
        </p:txBody>
      </p:sp>
      <p:sp>
        <p:nvSpPr>
          <p:cNvPr id="25" name="CasellaDiTesto 24"/>
          <p:cNvSpPr txBox="1"/>
          <p:nvPr/>
        </p:nvSpPr>
        <p:spPr>
          <a:xfrm>
            <a:off x="488400" y="4464933"/>
            <a:ext cx="7464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4400" dirty="0" smtClean="0">
                <a:solidFill>
                  <a:schemeClr val="bg1"/>
                </a:solidFill>
              </a:rPr>
              <a:t>D</a:t>
            </a:r>
            <a:endParaRPr lang="it-IT" sz="4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9655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Immagine 39" descr="img18.png"/>
          <p:cNvPicPr>
            <a:picLocks noChangeAspect="1"/>
          </p:cNvPicPr>
          <p:nvPr/>
        </p:nvPicPr>
        <p:blipFill>
          <a:blip r:embed="rId4" cstate="screen">
            <a:alphaModFix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324600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="" xmlns:a16="http://schemas.microsoft.com/office/drawing/2014/main" id="{71B01AFC-29FA-41F6-BAED-3A832B8418CD}"/>
              </a:ext>
            </a:extLst>
          </p:cNvPr>
          <p:cNvGrpSpPr/>
          <p:nvPr/>
        </p:nvGrpSpPr>
        <p:grpSpPr>
          <a:xfrm>
            <a:off x="504000" y="1327450"/>
            <a:ext cx="10659900" cy="1461676"/>
            <a:chOff x="504000" y="1463930"/>
            <a:chExt cx="10659900" cy="1461676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="" xmlns:a16="http://schemas.microsoft.com/office/drawing/2014/main" id="{C13264AC-9573-405E-926E-006A46A0197D}"/>
                </a:ext>
              </a:extLst>
            </p:cNvPr>
            <p:cNvSpPr/>
            <p:nvPr/>
          </p:nvSpPr>
          <p:spPr>
            <a:xfrm>
              <a:off x="1443900" y="1463930"/>
              <a:ext cx="9720000" cy="1461676"/>
            </a:xfrm>
            <a:prstGeom prst="roundRect">
              <a:avLst/>
            </a:prstGeom>
            <a:solidFill>
              <a:srgbClr val="FF6600">
                <a:alpha val="22000"/>
              </a:srgbClr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1404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5738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185738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185738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b="0" i="0" u="none" strike="noStrike" kern="1200" cap="none" spc="4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istema di tracciamento automatico del viaggio</a:t>
              </a:r>
            </a:p>
          </p:txBody>
        </p:sp>
        <p:sp>
          <p:nvSpPr>
            <p:cNvPr id="23" name="Hexagon 22">
              <a:extLst>
                <a:ext uri="{FF2B5EF4-FFF2-40B4-BE49-F238E27FC236}">
                  <a16:creationId xmlns="" xmlns:a16="http://schemas.microsoft.com/office/drawing/2014/main" id="{CD514A9E-60F2-46AD-9413-AF15EFB54333}"/>
                </a:ext>
              </a:extLst>
            </p:cNvPr>
            <p:cNvSpPr/>
            <p:nvPr/>
          </p:nvSpPr>
          <p:spPr>
            <a:xfrm>
              <a:off x="504000" y="1835680"/>
              <a:ext cx="720000" cy="720000"/>
            </a:xfrm>
            <a:prstGeom prst="hexagon">
              <a:avLst/>
            </a:prstGeom>
            <a:solidFill>
              <a:srgbClr val="F08A00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50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="" xmlns:a16="http://schemas.microsoft.com/office/drawing/2014/main" id="{7EC1D437-1301-4495-8624-10318FBC44B6}"/>
                </a:ext>
              </a:extLst>
            </p:cNvPr>
            <p:cNvSpPr/>
            <p:nvPr/>
          </p:nvSpPr>
          <p:spPr>
            <a:xfrm>
              <a:off x="1443899" y="1463931"/>
              <a:ext cx="8530979" cy="720000"/>
            </a:xfrm>
            <a:prstGeom prst="roundRect">
              <a:avLst/>
            </a:prstGeom>
            <a:solidFill>
              <a:srgbClr val="00A9D4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		</a:t>
              </a:r>
              <a:r>
                <a:rPr kumimoji="0" lang="it-IT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cenari di tariffazione su base consumo</a:t>
              </a: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="" xmlns:a16="http://schemas.microsoft.com/office/drawing/2014/main" id="{BF68B967-7149-48E7-AA72-7879FB24CBED}"/>
                </a:ext>
              </a:extLst>
            </p:cNvPr>
            <p:cNvSpPr/>
            <p:nvPr/>
          </p:nvSpPr>
          <p:spPr>
            <a:xfrm>
              <a:off x="1443900" y="1463931"/>
              <a:ext cx="1800000" cy="720000"/>
            </a:xfrm>
            <a:prstGeom prst="roundRect">
              <a:avLst/>
            </a:prstGeom>
            <a:solidFill>
              <a:srgbClr val="F08A00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6" name="Freeform 12">
              <a:extLst>
                <a:ext uri="{FF2B5EF4-FFF2-40B4-BE49-F238E27FC236}">
                  <a16:creationId xmlns="" xmlns:a16="http://schemas.microsoft.com/office/drawing/2014/main" id="{3C9A7563-470A-45FB-AC24-CF93933A6B2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rot="5400000">
              <a:off x="2121168" y="1369600"/>
              <a:ext cx="466126" cy="930336"/>
            </a:xfrm>
            <a:custGeom>
              <a:avLst/>
              <a:gdLst>
                <a:gd name="T0" fmla="*/ 713065 w 206"/>
                <a:gd name="T1" fmla="*/ 86262 h 411"/>
                <a:gd name="T2" fmla="*/ 686795 w 206"/>
                <a:gd name="T3" fmla="*/ 60008 h 411"/>
                <a:gd name="T4" fmla="*/ 600476 w 206"/>
                <a:gd name="T5" fmla="*/ 67509 h 411"/>
                <a:gd name="T6" fmla="*/ 386557 w 206"/>
                <a:gd name="T7" fmla="*/ 243784 h 411"/>
                <a:gd name="T8" fmla="*/ 168884 w 206"/>
                <a:gd name="T9" fmla="*/ 60008 h 411"/>
                <a:gd name="T10" fmla="*/ 90071 w 206"/>
                <a:gd name="T11" fmla="*/ 60008 h 411"/>
                <a:gd name="T12" fmla="*/ 63801 w 206"/>
                <a:gd name="T13" fmla="*/ 86262 h 411"/>
                <a:gd name="T14" fmla="*/ 198908 w 206"/>
                <a:gd name="T15" fmla="*/ 468814 h 411"/>
                <a:gd name="T16" fmla="*/ 228932 w 206"/>
                <a:gd name="T17" fmla="*/ 498819 h 411"/>
                <a:gd name="T18" fmla="*/ 63801 w 206"/>
                <a:gd name="T19" fmla="*/ 528823 h 411"/>
                <a:gd name="T20" fmla="*/ 67554 w 206"/>
                <a:gd name="T21" fmla="*/ 1470202 h 411"/>
                <a:gd name="T22" fmla="*/ 161378 w 206"/>
                <a:gd name="T23" fmla="*/ 1477703 h 411"/>
                <a:gd name="T24" fmla="*/ 386557 w 206"/>
                <a:gd name="T25" fmla="*/ 1293928 h 411"/>
                <a:gd name="T26" fmla="*/ 596723 w 206"/>
                <a:gd name="T27" fmla="*/ 1470202 h 411"/>
                <a:gd name="T28" fmla="*/ 604229 w 206"/>
                <a:gd name="T29" fmla="*/ 1477703 h 411"/>
                <a:gd name="T30" fmla="*/ 683042 w 206"/>
                <a:gd name="T31" fmla="*/ 1481454 h 411"/>
                <a:gd name="T32" fmla="*/ 713065 w 206"/>
                <a:gd name="T33" fmla="*/ 528823 h 411"/>
                <a:gd name="T34" fmla="*/ 544181 w 206"/>
                <a:gd name="T35" fmla="*/ 498819 h 411"/>
                <a:gd name="T36" fmla="*/ 713065 w 206"/>
                <a:gd name="T37" fmla="*/ 468814 h 411"/>
                <a:gd name="T38" fmla="*/ 743089 w 206"/>
                <a:gd name="T39" fmla="*/ 311293 h 411"/>
                <a:gd name="T40" fmla="*/ 773113 w 206"/>
                <a:gd name="T41" fmla="*/ 341297 h 411"/>
                <a:gd name="T42" fmla="*/ 683042 w 206"/>
                <a:gd name="T43" fmla="*/ 1541462 h 411"/>
                <a:gd name="T44" fmla="*/ 604229 w 206"/>
                <a:gd name="T45" fmla="*/ 1537711 h 411"/>
                <a:gd name="T46" fmla="*/ 386557 w 206"/>
                <a:gd name="T47" fmla="*/ 1353936 h 411"/>
                <a:gd name="T48" fmla="*/ 232684 w 206"/>
                <a:gd name="T49" fmla="*/ 1485204 h 411"/>
                <a:gd name="T50" fmla="*/ 86318 w 206"/>
                <a:gd name="T51" fmla="*/ 1537711 h 411"/>
                <a:gd name="T52" fmla="*/ 0 w 206"/>
                <a:gd name="T53" fmla="*/ 1451450 h 411"/>
                <a:gd name="T54" fmla="*/ 3753 w 206"/>
                <a:gd name="T55" fmla="*/ 498819 h 411"/>
                <a:gd name="T56" fmla="*/ 3753 w 206"/>
                <a:gd name="T57" fmla="*/ 86262 h 411"/>
                <a:gd name="T58" fmla="*/ 90071 w 206"/>
                <a:gd name="T59" fmla="*/ 0 h 411"/>
                <a:gd name="T60" fmla="*/ 232684 w 206"/>
                <a:gd name="T61" fmla="*/ 48757 h 411"/>
                <a:gd name="T62" fmla="*/ 386557 w 206"/>
                <a:gd name="T63" fmla="*/ 183775 h 411"/>
                <a:gd name="T64" fmla="*/ 600476 w 206"/>
                <a:gd name="T65" fmla="*/ 0 h 411"/>
                <a:gd name="T66" fmla="*/ 604229 w 206"/>
                <a:gd name="T67" fmla="*/ 0 h 411"/>
                <a:gd name="T68" fmla="*/ 746842 w 206"/>
                <a:gd name="T69" fmla="*/ 26254 h 411"/>
                <a:gd name="T70" fmla="*/ 773113 w 206"/>
                <a:gd name="T71" fmla="*/ 217530 h 411"/>
                <a:gd name="T72" fmla="*/ 743089 w 206"/>
                <a:gd name="T73" fmla="*/ 247534 h 411"/>
                <a:gd name="T74" fmla="*/ 469122 w 206"/>
                <a:gd name="T75" fmla="*/ 528823 h 411"/>
                <a:gd name="T76" fmla="*/ 487887 w 206"/>
                <a:gd name="T77" fmla="*/ 476316 h 411"/>
                <a:gd name="T78" fmla="*/ 303991 w 206"/>
                <a:gd name="T79" fmla="*/ 468814 h 411"/>
                <a:gd name="T80" fmla="*/ 281473 w 206"/>
                <a:gd name="T81" fmla="*/ 517571 h 411"/>
                <a:gd name="T82" fmla="*/ 469122 w 206"/>
                <a:gd name="T83" fmla="*/ 528823 h 411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206" h="411">
                  <a:moveTo>
                    <a:pt x="190" y="58"/>
                  </a:moveTo>
                  <a:cubicBezTo>
                    <a:pt x="190" y="23"/>
                    <a:pt x="190" y="23"/>
                    <a:pt x="190" y="23"/>
                  </a:cubicBezTo>
                  <a:cubicBezTo>
                    <a:pt x="190" y="21"/>
                    <a:pt x="189" y="20"/>
                    <a:pt x="188" y="18"/>
                  </a:cubicBezTo>
                  <a:cubicBezTo>
                    <a:pt x="186" y="17"/>
                    <a:pt x="185" y="16"/>
                    <a:pt x="183" y="16"/>
                  </a:cubicBezTo>
                  <a:cubicBezTo>
                    <a:pt x="162" y="16"/>
                    <a:pt x="162" y="16"/>
                    <a:pt x="162" y="16"/>
                  </a:cubicBezTo>
                  <a:cubicBezTo>
                    <a:pt x="160" y="17"/>
                    <a:pt x="160" y="18"/>
                    <a:pt x="160" y="18"/>
                  </a:cubicBezTo>
                  <a:cubicBezTo>
                    <a:pt x="155" y="45"/>
                    <a:pt x="132" y="65"/>
                    <a:pt x="103" y="65"/>
                  </a:cubicBezTo>
                  <a:cubicBezTo>
                    <a:pt x="103" y="65"/>
                    <a:pt x="103" y="65"/>
                    <a:pt x="103" y="65"/>
                  </a:cubicBezTo>
                  <a:cubicBezTo>
                    <a:pt x="76" y="65"/>
                    <a:pt x="54" y="46"/>
                    <a:pt x="47" y="17"/>
                  </a:cubicBezTo>
                  <a:cubicBezTo>
                    <a:pt x="47" y="16"/>
                    <a:pt x="46" y="16"/>
                    <a:pt x="45" y="16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0" y="16"/>
                    <a:pt x="17" y="19"/>
                    <a:pt x="17" y="23"/>
                  </a:cubicBezTo>
                  <a:cubicBezTo>
                    <a:pt x="17" y="125"/>
                    <a:pt x="17" y="125"/>
                    <a:pt x="17" y="125"/>
                  </a:cubicBezTo>
                  <a:cubicBezTo>
                    <a:pt x="53" y="125"/>
                    <a:pt x="53" y="125"/>
                    <a:pt x="53" y="125"/>
                  </a:cubicBezTo>
                  <a:cubicBezTo>
                    <a:pt x="55" y="125"/>
                    <a:pt x="57" y="126"/>
                    <a:pt x="58" y="127"/>
                  </a:cubicBezTo>
                  <a:cubicBezTo>
                    <a:pt x="60" y="129"/>
                    <a:pt x="61" y="131"/>
                    <a:pt x="61" y="133"/>
                  </a:cubicBezTo>
                  <a:cubicBezTo>
                    <a:pt x="61" y="137"/>
                    <a:pt x="57" y="141"/>
                    <a:pt x="53" y="141"/>
                  </a:cubicBezTo>
                  <a:cubicBezTo>
                    <a:pt x="17" y="141"/>
                    <a:pt x="17" y="141"/>
                    <a:pt x="17" y="141"/>
                  </a:cubicBezTo>
                  <a:cubicBezTo>
                    <a:pt x="16" y="387"/>
                    <a:pt x="16" y="387"/>
                    <a:pt x="16" y="387"/>
                  </a:cubicBezTo>
                  <a:cubicBezTo>
                    <a:pt x="16" y="389"/>
                    <a:pt x="17" y="391"/>
                    <a:pt x="18" y="392"/>
                  </a:cubicBezTo>
                  <a:cubicBezTo>
                    <a:pt x="20" y="393"/>
                    <a:pt x="21" y="394"/>
                    <a:pt x="23" y="394"/>
                  </a:cubicBezTo>
                  <a:cubicBezTo>
                    <a:pt x="43" y="394"/>
                    <a:pt x="43" y="394"/>
                    <a:pt x="43" y="394"/>
                  </a:cubicBezTo>
                  <a:cubicBezTo>
                    <a:pt x="44" y="394"/>
                    <a:pt x="46" y="394"/>
                    <a:pt x="46" y="391"/>
                  </a:cubicBezTo>
                  <a:cubicBezTo>
                    <a:pt x="54" y="364"/>
                    <a:pt x="77" y="345"/>
                    <a:pt x="103" y="345"/>
                  </a:cubicBezTo>
                  <a:cubicBezTo>
                    <a:pt x="103" y="345"/>
                    <a:pt x="103" y="345"/>
                    <a:pt x="103" y="345"/>
                  </a:cubicBezTo>
                  <a:cubicBezTo>
                    <a:pt x="130" y="345"/>
                    <a:pt x="154" y="365"/>
                    <a:pt x="159" y="392"/>
                  </a:cubicBezTo>
                  <a:cubicBezTo>
                    <a:pt x="159" y="392"/>
                    <a:pt x="159" y="393"/>
                    <a:pt x="159" y="393"/>
                  </a:cubicBezTo>
                  <a:cubicBezTo>
                    <a:pt x="159" y="394"/>
                    <a:pt x="160" y="394"/>
                    <a:pt x="161" y="394"/>
                  </a:cubicBezTo>
                  <a:cubicBezTo>
                    <a:pt x="182" y="395"/>
                    <a:pt x="182" y="395"/>
                    <a:pt x="182" y="395"/>
                  </a:cubicBezTo>
                  <a:cubicBezTo>
                    <a:pt x="182" y="395"/>
                    <a:pt x="182" y="395"/>
                    <a:pt x="182" y="395"/>
                  </a:cubicBezTo>
                  <a:cubicBezTo>
                    <a:pt x="186" y="395"/>
                    <a:pt x="189" y="391"/>
                    <a:pt x="189" y="387"/>
                  </a:cubicBezTo>
                  <a:cubicBezTo>
                    <a:pt x="190" y="141"/>
                    <a:pt x="190" y="141"/>
                    <a:pt x="190" y="141"/>
                  </a:cubicBezTo>
                  <a:cubicBezTo>
                    <a:pt x="153" y="141"/>
                    <a:pt x="153" y="141"/>
                    <a:pt x="153" y="141"/>
                  </a:cubicBezTo>
                  <a:cubicBezTo>
                    <a:pt x="148" y="141"/>
                    <a:pt x="145" y="137"/>
                    <a:pt x="145" y="133"/>
                  </a:cubicBezTo>
                  <a:cubicBezTo>
                    <a:pt x="145" y="128"/>
                    <a:pt x="148" y="125"/>
                    <a:pt x="153" y="125"/>
                  </a:cubicBezTo>
                  <a:cubicBezTo>
                    <a:pt x="190" y="125"/>
                    <a:pt x="190" y="125"/>
                    <a:pt x="190" y="125"/>
                  </a:cubicBezTo>
                  <a:cubicBezTo>
                    <a:pt x="190" y="91"/>
                    <a:pt x="190" y="91"/>
                    <a:pt x="190" y="91"/>
                  </a:cubicBezTo>
                  <a:cubicBezTo>
                    <a:pt x="190" y="87"/>
                    <a:pt x="193" y="83"/>
                    <a:pt x="198" y="83"/>
                  </a:cubicBezTo>
                  <a:cubicBezTo>
                    <a:pt x="198" y="83"/>
                    <a:pt x="198" y="83"/>
                    <a:pt x="198" y="83"/>
                  </a:cubicBezTo>
                  <a:cubicBezTo>
                    <a:pt x="202" y="83"/>
                    <a:pt x="206" y="87"/>
                    <a:pt x="206" y="91"/>
                  </a:cubicBezTo>
                  <a:cubicBezTo>
                    <a:pt x="205" y="387"/>
                    <a:pt x="205" y="387"/>
                    <a:pt x="205" y="387"/>
                  </a:cubicBezTo>
                  <a:cubicBezTo>
                    <a:pt x="205" y="400"/>
                    <a:pt x="195" y="411"/>
                    <a:pt x="182" y="411"/>
                  </a:cubicBezTo>
                  <a:cubicBezTo>
                    <a:pt x="182" y="411"/>
                    <a:pt x="182" y="411"/>
                    <a:pt x="182" y="411"/>
                  </a:cubicBezTo>
                  <a:cubicBezTo>
                    <a:pt x="161" y="410"/>
                    <a:pt x="161" y="410"/>
                    <a:pt x="161" y="410"/>
                  </a:cubicBezTo>
                  <a:cubicBezTo>
                    <a:pt x="149" y="410"/>
                    <a:pt x="144" y="401"/>
                    <a:pt x="143" y="395"/>
                  </a:cubicBezTo>
                  <a:cubicBezTo>
                    <a:pt x="140" y="375"/>
                    <a:pt x="123" y="361"/>
                    <a:pt x="103" y="361"/>
                  </a:cubicBezTo>
                  <a:cubicBezTo>
                    <a:pt x="103" y="361"/>
                    <a:pt x="103" y="361"/>
                    <a:pt x="103" y="361"/>
                  </a:cubicBezTo>
                  <a:cubicBezTo>
                    <a:pt x="84" y="361"/>
                    <a:pt x="68" y="375"/>
                    <a:pt x="62" y="396"/>
                  </a:cubicBezTo>
                  <a:cubicBezTo>
                    <a:pt x="59" y="407"/>
                    <a:pt x="48" y="410"/>
                    <a:pt x="43" y="410"/>
                  </a:cubicBezTo>
                  <a:cubicBezTo>
                    <a:pt x="23" y="410"/>
                    <a:pt x="23" y="410"/>
                    <a:pt x="23" y="410"/>
                  </a:cubicBezTo>
                  <a:cubicBezTo>
                    <a:pt x="17" y="410"/>
                    <a:pt x="11" y="408"/>
                    <a:pt x="7" y="403"/>
                  </a:cubicBezTo>
                  <a:cubicBezTo>
                    <a:pt x="3" y="399"/>
                    <a:pt x="0" y="393"/>
                    <a:pt x="0" y="387"/>
                  </a:cubicBezTo>
                  <a:cubicBezTo>
                    <a:pt x="1" y="134"/>
                    <a:pt x="1" y="134"/>
                    <a:pt x="1" y="134"/>
                  </a:cubicBezTo>
                  <a:cubicBezTo>
                    <a:pt x="1" y="134"/>
                    <a:pt x="1" y="133"/>
                    <a:pt x="1" y="133"/>
                  </a:cubicBezTo>
                  <a:cubicBezTo>
                    <a:pt x="1" y="132"/>
                    <a:pt x="1" y="131"/>
                    <a:pt x="1" y="131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10"/>
                    <a:pt x="11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51" y="0"/>
                    <a:pt x="60" y="3"/>
                    <a:pt x="62" y="13"/>
                  </a:cubicBezTo>
                  <a:cubicBezTo>
                    <a:pt x="67" y="31"/>
                    <a:pt x="81" y="49"/>
                    <a:pt x="103" y="49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24" y="49"/>
                    <a:pt x="141" y="35"/>
                    <a:pt x="144" y="15"/>
                  </a:cubicBezTo>
                  <a:cubicBezTo>
                    <a:pt x="145" y="10"/>
                    <a:pt x="149" y="2"/>
                    <a:pt x="160" y="0"/>
                  </a:cubicBezTo>
                  <a:cubicBezTo>
                    <a:pt x="160" y="0"/>
                    <a:pt x="160" y="0"/>
                    <a:pt x="161" y="0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189" y="0"/>
                    <a:pt x="195" y="3"/>
                    <a:pt x="199" y="7"/>
                  </a:cubicBezTo>
                  <a:cubicBezTo>
                    <a:pt x="204" y="11"/>
                    <a:pt x="206" y="17"/>
                    <a:pt x="206" y="23"/>
                  </a:cubicBezTo>
                  <a:cubicBezTo>
                    <a:pt x="206" y="58"/>
                    <a:pt x="206" y="58"/>
                    <a:pt x="206" y="58"/>
                  </a:cubicBezTo>
                  <a:cubicBezTo>
                    <a:pt x="206" y="63"/>
                    <a:pt x="202" y="66"/>
                    <a:pt x="198" y="66"/>
                  </a:cubicBezTo>
                  <a:cubicBezTo>
                    <a:pt x="198" y="66"/>
                    <a:pt x="198" y="66"/>
                    <a:pt x="198" y="66"/>
                  </a:cubicBezTo>
                  <a:cubicBezTo>
                    <a:pt x="193" y="66"/>
                    <a:pt x="190" y="63"/>
                    <a:pt x="190" y="58"/>
                  </a:cubicBezTo>
                  <a:close/>
                  <a:moveTo>
                    <a:pt x="125" y="141"/>
                  </a:moveTo>
                  <a:cubicBezTo>
                    <a:pt x="129" y="141"/>
                    <a:pt x="133" y="137"/>
                    <a:pt x="133" y="133"/>
                  </a:cubicBezTo>
                  <a:cubicBezTo>
                    <a:pt x="133" y="131"/>
                    <a:pt x="132" y="129"/>
                    <a:pt x="130" y="127"/>
                  </a:cubicBezTo>
                  <a:cubicBezTo>
                    <a:pt x="129" y="126"/>
                    <a:pt x="127" y="125"/>
                    <a:pt x="125" y="125"/>
                  </a:cubicBezTo>
                  <a:cubicBezTo>
                    <a:pt x="81" y="125"/>
                    <a:pt x="81" y="125"/>
                    <a:pt x="81" y="125"/>
                  </a:cubicBezTo>
                  <a:cubicBezTo>
                    <a:pt x="76" y="125"/>
                    <a:pt x="73" y="128"/>
                    <a:pt x="73" y="133"/>
                  </a:cubicBezTo>
                  <a:cubicBezTo>
                    <a:pt x="73" y="135"/>
                    <a:pt x="73" y="137"/>
                    <a:pt x="75" y="138"/>
                  </a:cubicBezTo>
                  <a:cubicBezTo>
                    <a:pt x="76" y="140"/>
                    <a:pt x="78" y="141"/>
                    <a:pt x="81" y="141"/>
                  </a:cubicBezTo>
                  <a:lnTo>
                    <a:pt x="125" y="1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vert270" lIns="0" tIns="457200" rIns="0" bIns="1800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 pitchFamily="34" charset="-128"/>
                  <a:cs typeface="Arial" panose="020B0604020202020204" pitchFamily="34" charset="0"/>
                </a:rPr>
                <a:t>€</a:t>
              </a:r>
              <a:endParaRPr kumimoji="0" lang="en-US" sz="5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DA876A46-4BF3-4701-B56F-0C9219754BF5}"/>
              </a:ext>
            </a:extLst>
          </p:cNvPr>
          <p:cNvGrpSpPr/>
          <p:nvPr/>
        </p:nvGrpSpPr>
        <p:grpSpPr>
          <a:xfrm>
            <a:off x="504000" y="2905200"/>
            <a:ext cx="10659900" cy="1461676"/>
            <a:chOff x="504000" y="2884105"/>
            <a:chExt cx="10659900" cy="1461676"/>
          </a:xfrm>
        </p:grpSpPr>
        <p:sp>
          <p:nvSpPr>
            <p:cNvPr id="27" name="Rectangle: Rounded Corners 26">
              <a:extLst>
                <a:ext uri="{FF2B5EF4-FFF2-40B4-BE49-F238E27FC236}">
                  <a16:creationId xmlns="" xmlns:a16="http://schemas.microsoft.com/office/drawing/2014/main" id="{BC94036B-515B-4B03-8B05-4F003BBAD540}"/>
                </a:ext>
              </a:extLst>
            </p:cNvPr>
            <p:cNvSpPr/>
            <p:nvPr/>
          </p:nvSpPr>
          <p:spPr>
            <a:xfrm>
              <a:off x="1443900" y="2884105"/>
              <a:ext cx="9720000" cy="1461676"/>
            </a:xfrm>
            <a:prstGeom prst="roundRect">
              <a:avLst/>
            </a:prstGeom>
            <a:solidFill>
              <a:srgbClr val="3B003B">
                <a:alpha val="40000"/>
              </a:srgbClr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5738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185738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185738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pplicazioni Mobili per interagire con il mezzo in arrivo per prenotazioni e tempo di salita</a:t>
              </a:r>
            </a:p>
            <a:p>
              <a:pPr marL="185738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ervizi avanzati e localizzati di trasporto multimodale</a:t>
              </a:r>
            </a:p>
          </p:txBody>
        </p:sp>
        <p:sp>
          <p:nvSpPr>
            <p:cNvPr id="28" name="Hexagon 27">
              <a:extLst>
                <a:ext uri="{FF2B5EF4-FFF2-40B4-BE49-F238E27FC236}">
                  <a16:creationId xmlns="" xmlns:a16="http://schemas.microsoft.com/office/drawing/2014/main" id="{DDD2E946-2B96-4877-8B38-D1D8ED0F11F8}"/>
                </a:ext>
              </a:extLst>
            </p:cNvPr>
            <p:cNvSpPr/>
            <p:nvPr/>
          </p:nvSpPr>
          <p:spPr>
            <a:xfrm>
              <a:off x="504000" y="3254943"/>
              <a:ext cx="720000" cy="720000"/>
            </a:xfrm>
            <a:prstGeom prst="hexagon">
              <a:avLst/>
            </a:prstGeom>
            <a:solidFill>
              <a:srgbClr val="8F3F7B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</a:t>
              </a: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="" xmlns:a16="http://schemas.microsoft.com/office/drawing/2014/main" id="{8B652B5A-81C2-4509-A431-DC3A13E4B7D5}"/>
                </a:ext>
              </a:extLst>
            </p:cNvPr>
            <p:cNvSpPr/>
            <p:nvPr/>
          </p:nvSpPr>
          <p:spPr>
            <a:xfrm>
              <a:off x="1443900" y="2884106"/>
              <a:ext cx="8530978" cy="720000"/>
            </a:xfrm>
            <a:prstGeom prst="roundRect">
              <a:avLst/>
            </a:prstGeom>
            <a:solidFill>
              <a:srgbClr val="00A9D4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342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000" b="1" i="0" u="none" strike="noStrike" kern="1200" cap="none" spc="0" normalizeH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		Servizi per il cittadino su Applicazione Mobile 		</a:t>
              </a: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="" xmlns:a16="http://schemas.microsoft.com/office/drawing/2014/main" id="{E66F9F0E-CC6B-47EC-BA47-1FB9EBE3014A}"/>
                </a:ext>
              </a:extLst>
            </p:cNvPr>
            <p:cNvSpPr/>
            <p:nvPr/>
          </p:nvSpPr>
          <p:spPr>
            <a:xfrm>
              <a:off x="1443900" y="2884106"/>
              <a:ext cx="1800000" cy="720000"/>
            </a:xfrm>
            <a:prstGeom prst="roundRect">
              <a:avLst/>
            </a:prstGeom>
            <a:solidFill>
              <a:srgbClr val="8F3F7B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8F3F7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1" name="Freeform 6">
              <a:extLst>
                <a:ext uri="{FF2B5EF4-FFF2-40B4-BE49-F238E27FC236}">
                  <a16:creationId xmlns="" xmlns:a16="http://schemas.microsoft.com/office/drawing/2014/main" id="{9CF2EECC-5448-482E-92E8-E51B8B4C209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217122" y="2952733"/>
              <a:ext cx="339725" cy="541339"/>
            </a:xfrm>
            <a:custGeom>
              <a:avLst/>
              <a:gdLst>
                <a:gd name="T0" fmla="*/ 2147483647 w 241"/>
                <a:gd name="T1" fmla="*/ 2147483647 h 383"/>
                <a:gd name="T2" fmla="*/ 2147483647 w 241"/>
                <a:gd name="T3" fmla="*/ 2147483647 h 383"/>
                <a:gd name="T4" fmla="*/ 2147483647 w 241"/>
                <a:gd name="T5" fmla="*/ 2147483647 h 383"/>
                <a:gd name="T6" fmla="*/ 2147483647 w 241"/>
                <a:gd name="T7" fmla="*/ 2147483647 h 383"/>
                <a:gd name="T8" fmla="*/ 2147483647 w 241"/>
                <a:gd name="T9" fmla="*/ 2147483647 h 383"/>
                <a:gd name="T10" fmla="*/ 2147483647 w 241"/>
                <a:gd name="T11" fmla="*/ 2147483647 h 383"/>
                <a:gd name="T12" fmla="*/ 2147483647 w 241"/>
                <a:gd name="T13" fmla="*/ 2147483647 h 383"/>
                <a:gd name="T14" fmla="*/ 2147483647 w 241"/>
                <a:gd name="T15" fmla="*/ 2147483647 h 383"/>
                <a:gd name="T16" fmla="*/ 2147483647 w 241"/>
                <a:gd name="T17" fmla="*/ 0 h 383"/>
                <a:gd name="T18" fmla="*/ 2147483647 w 241"/>
                <a:gd name="T19" fmla="*/ 0 h 383"/>
                <a:gd name="T20" fmla="*/ 0 w 241"/>
                <a:gd name="T21" fmla="*/ 2147483647 h 383"/>
                <a:gd name="T22" fmla="*/ 0 w 241"/>
                <a:gd name="T23" fmla="*/ 2147483647 h 383"/>
                <a:gd name="T24" fmla="*/ 2147483647 w 241"/>
                <a:gd name="T25" fmla="*/ 2147483647 h 383"/>
                <a:gd name="T26" fmla="*/ 2147483647 w 241"/>
                <a:gd name="T27" fmla="*/ 2147483647 h 383"/>
                <a:gd name="T28" fmla="*/ 2147483647 w 241"/>
                <a:gd name="T29" fmla="*/ 2147483647 h 383"/>
                <a:gd name="T30" fmla="*/ 2147483647 w 241"/>
                <a:gd name="T31" fmla="*/ 2147483647 h 383"/>
                <a:gd name="T32" fmla="*/ 2147483647 w 241"/>
                <a:gd name="T33" fmla="*/ 2147483647 h 383"/>
                <a:gd name="T34" fmla="*/ 2147483647 w 241"/>
                <a:gd name="T35" fmla="*/ 2147483647 h 383"/>
                <a:gd name="T36" fmla="*/ 2147483647 w 241"/>
                <a:gd name="T37" fmla="*/ 2147483647 h 383"/>
                <a:gd name="T38" fmla="*/ 2147483647 w 241"/>
                <a:gd name="T39" fmla="*/ 2147483647 h 383"/>
                <a:gd name="T40" fmla="*/ 2147483647 w 241"/>
                <a:gd name="T41" fmla="*/ 2147483647 h 383"/>
                <a:gd name="T42" fmla="*/ 2147483647 w 241"/>
                <a:gd name="T43" fmla="*/ 2147483647 h 383"/>
                <a:gd name="T44" fmla="*/ 2147483647 w 241"/>
                <a:gd name="T45" fmla="*/ 2147483647 h 383"/>
                <a:gd name="T46" fmla="*/ 2147483647 w 241"/>
                <a:gd name="T47" fmla="*/ 2147483647 h 383"/>
                <a:gd name="T48" fmla="*/ 2147483647 w 241"/>
                <a:gd name="T49" fmla="*/ 2147483647 h 383"/>
                <a:gd name="T50" fmla="*/ 2147483647 w 241"/>
                <a:gd name="T51" fmla="*/ 2147483647 h 383"/>
                <a:gd name="T52" fmla="*/ 2147483647 w 241"/>
                <a:gd name="T53" fmla="*/ 2147483647 h 383"/>
                <a:gd name="T54" fmla="*/ 2147483647 w 241"/>
                <a:gd name="T55" fmla="*/ 2147483647 h 383"/>
                <a:gd name="T56" fmla="*/ 2147483647 w 241"/>
                <a:gd name="T57" fmla="*/ 2147483647 h 383"/>
                <a:gd name="T58" fmla="*/ 2147483647 w 241"/>
                <a:gd name="T59" fmla="*/ 2147483647 h 383"/>
                <a:gd name="T60" fmla="*/ 2147483647 w 241"/>
                <a:gd name="T61" fmla="*/ 2147483647 h 383"/>
                <a:gd name="T62" fmla="*/ 2147483647 w 241"/>
                <a:gd name="T63" fmla="*/ 2147483647 h 383"/>
                <a:gd name="T64" fmla="*/ 2147483647 w 241"/>
                <a:gd name="T65" fmla="*/ 2147483647 h 383"/>
                <a:gd name="T66" fmla="*/ 2147483647 w 241"/>
                <a:gd name="T67" fmla="*/ 2147483647 h 383"/>
                <a:gd name="T68" fmla="*/ 2147483647 w 241"/>
                <a:gd name="T69" fmla="*/ 2147483647 h 383"/>
                <a:gd name="T70" fmla="*/ 2147483647 w 241"/>
                <a:gd name="T71" fmla="*/ 2147483647 h 383"/>
                <a:gd name="T72" fmla="*/ 2147483647 w 241"/>
                <a:gd name="T73" fmla="*/ 2147483647 h 383"/>
                <a:gd name="T74" fmla="*/ 2147483647 w 241"/>
                <a:gd name="T75" fmla="*/ 2147483647 h 383"/>
                <a:gd name="T76" fmla="*/ 2147483647 w 241"/>
                <a:gd name="T77" fmla="*/ 2147483647 h 383"/>
                <a:gd name="T78" fmla="*/ 2147483647 w 241"/>
                <a:gd name="T79" fmla="*/ 2147483647 h 383"/>
                <a:gd name="T80" fmla="*/ 2147483647 w 241"/>
                <a:gd name="T81" fmla="*/ 2147483647 h 383"/>
                <a:gd name="T82" fmla="*/ 2147483647 w 241"/>
                <a:gd name="T83" fmla="*/ 2147483647 h 383"/>
                <a:gd name="T84" fmla="*/ 2147483647 w 241"/>
                <a:gd name="T85" fmla="*/ 2147483647 h 383"/>
                <a:gd name="T86" fmla="*/ 2147483647 w 241"/>
                <a:gd name="T87" fmla="*/ 2147483647 h 383"/>
                <a:gd name="T88" fmla="*/ 2147483647 w 241"/>
                <a:gd name="T89" fmla="*/ 2147483647 h 38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41"/>
                <a:gd name="T136" fmla="*/ 0 h 383"/>
                <a:gd name="T137" fmla="*/ 241 w 241"/>
                <a:gd name="T138" fmla="*/ 383 h 38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41" h="383">
                  <a:moveTo>
                    <a:pt x="117" y="356"/>
                  </a:moveTo>
                  <a:cubicBezTo>
                    <a:pt x="127" y="356"/>
                    <a:pt x="135" y="348"/>
                    <a:pt x="135" y="338"/>
                  </a:cubicBezTo>
                  <a:cubicBezTo>
                    <a:pt x="135" y="329"/>
                    <a:pt x="127" y="321"/>
                    <a:pt x="117" y="321"/>
                  </a:cubicBezTo>
                  <a:cubicBezTo>
                    <a:pt x="107" y="321"/>
                    <a:pt x="99" y="329"/>
                    <a:pt x="99" y="338"/>
                  </a:cubicBezTo>
                  <a:cubicBezTo>
                    <a:pt x="99" y="348"/>
                    <a:pt x="107" y="356"/>
                    <a:pt x="117" y="356"/>
                  </a:cubicBezTo>
                  <a:close/>
                  <a:moveTo>
                    <a:pt x="233" y="90"/>
                  </a:moveTo>
                  <a:cubicBezTo>
                    <a:pt x="237" y="90"/>
                    <a:pt x="241" y="87"/>
                    <a:pt x="241" y="82"/>
                  </a:cubicBezTo>
                  <a:cubicBezTo>
                    <a:pt x="241" y="19"/>
                    <a:pt x="241" y="19"/>
                    <a:pt x="241" y="19"/>
                  </a:cubicBezTo>
                  <a:cubicBezTo>
                    <a:pt x="241" y="8"/>
                    <a:pt x="232" y="0"/>
                    <a:pt x="221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8" y="0"/>
                    <a:pt x="0" y="8"/>
                    <a:pt x="0" y="19"/>
                  </a:cubicBezTo>
                  <a:cubicBezTo>
                    <a:pt x="0" y="364"/>
                    <a:pt x="0" y="364"/>
                    <a:pt x="0" y="364"/>
                  </a:cubicBezTo>
                  <a:cubicBezTo>
                    <a:pt x="0" y="375"/>
                    <a:pt x="8" y="383"/>
                    <a:pt x="19" y="383"/>
                  </a:cubicBezTo>
                  <a:cubicBezTo>
                    <a:pt x="221" y="383"/>
                    <a:pt x="221" y="383"/>
                    <a:pt x="221" y="383"/>
                  </a:cubicBezTo>
                  <a:cubicBezTo>
                    <a:pt x="232" y="383"/>
                    <a:pt x="241" y="375"/>
                    <a:pt x="241" y="364"/>
                  </a:cubicBezTo>
                  <a:cubicBezTo>
                    <a:pt x="241" y="114"/>
                    <a:pt x="241" y="114"/>
                    <a:pt x="241" y="114"/>
                  </a:cubicBezTo>
                  <a:cubicBezTo>
                    <a:pt x="241" y="110"/>
                    <a:pt x="237" y="106"/>
                    <a:pt x="233" y="106"/>
                  </a:cubicBezTo>
                  <a:cubicBezTo>
                    <a:pt x="228" y="106"/>
                    <a:pt x="225" y="110"/>
                    <a:pt x="225" y="114"/>
                  </a:cubicBezTo>
                  <a:cubicBezTo>
                    <a:pt x="225" y="295"/>
                    <a:pt x="225" y="295"/>
                    <a:pt x="225" y="295"/>
                  </a:cubicBezTo>
                  <a:cubicBezTo>
                    <a:pt x="16" y="295"/>
                    <a:pt x="16" y="295"/>
                    <a:pt x="16" y="295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225" y="69"/>
                    <a:pt x="225" y="69"/>
                    <a:pt x="225" y="69"/>
                  </a:cubicBezTo>
                  <a:cubicBezTo>
                    <a:pt x="225" y="82"/>
                    <a:pt x="225" y="82"/>
                    <a:pt x="225" y="82"/>
                  </a:cubicBezTo>
                  <a:cubicBezTo>
                    <a:pt x="225" y="87"/>
                    <a:pt x="228" y="90"/>
                    <a:pt x="233" y="90"/>
                  </a:cubicBezTo>
                  <a:close/>
                  <a:moveTo>
                    <a:pt x="225" y="311"/>
                  </a:moveTo>
                  <a:cubicBezTo>
                    <a:pt x="225" y="364"/>
                    <a:pt x="225" y="364"/>
                    <a:pt x="225" y="364"/>
                  </a:cubicBezTo>
                  <a:cubicBezTo>
                    <a:pt x="225" y="366"/>
                    <a:pt x="223" y="367"/>
                    <a:pt x="221" y="367"/>
                  </a:cubicBezTo>
                  <a:cubicBezTo>
                    <a:pt x="19" y="367"/>
                    <a:pt x="19" y="367"/>
                    <a:pt x="19" y="367"/>
                  </a:cubicBezTo>
                  <a:cubicBezTo>
                    <a:pt x="17" y="367"/>
                    <a:pt x="16" y="366"/>
                    <a:pt x="16" y="364"/>
                  </a:cubicBezTo>
                  <a:cubicBezTo>
                    <a:pt x="16" y="311"/>
                    <a:pt x="16" y="311"/>
                    <a:pt x="16" y="311"/>
                  </a:cubicBezTo>
                  <a:lnTo>
                    <a:pt x="225" y="311"/>
                  </a:lnTo>
                  <a:close/>
                  <a:moveTo>
                    <a:pt x="16" y="53"/>
                  </a:moveTo>
                  <a:cubicBezTo>
                    <a:pt x="16" y="19"/>
                    <a:pt x="16" y="19"/>
                    <a:pt x="16" y="19"/>
                  </a:cubicBezTo>
                  <a:cubicBezTo>
                    <a:pt x="16" y="17"/>
                    <a:pt x="17" y="16"/>
                    <a:pt x="19" y="16"/>
                  </a:cubicBezTo>
                  <a:cubicBezTo>
                    <a:pt x="221" y="16"/>
                    <a:pt x="221" y="16"/>
                    <a:pt x="221" y="16"/>
                  </a:cubicBezTo>
                  <a:cubicBezTo>
                    <a:pt x="223" y="16"/>
                    <a:pt x="225" y="17"/>
                    <a:pt x="225" y="19"/>
                  </a:cubicBezTo>
                  <a:cubicBezTo>
                    <a:pt x="225" y="53"/>
                    <a:pt x="225" y="53"/>
                    <a:pt x="225" y="53"/>
                  </a:cubicBezTo>
                  <a:lnTo>
                    <a:pt x="16" y="53"/>
                  </a:lnTo>
                  <a:close/>
                  <a:moveTo>
                    <a:pt x="135" y="26"/>
                  </a:moveTo>
                  <a:cubicBezTo>
                    <a:pt x="99" y="26"/>
                    <a:pt x="99" y="26"/>
                    <a:pt x="99" y="26"/>
                  </a:cubicBezTo>
                  <a:cubicBezTo>
                    <a:pt x="95" y="26"/>
                    <a:pt x="91" y="30"/>
                    <a:pt x="91" y="34"/>
                  </a:cubicBezTo>
                  <a:cubicBezTo>
                    <a:pt x="91" y="38"/>
                    <a:pt x="95" y="42"/>
                    <a:pt x="99" y="42"/>
                  </a:cubicBezTo>
                  <a:cubicBezTo>
                    <a:pt x="135" y="42"/>
                    <a:pt x="135" y="42"/>
                    <a:pt x="135" y="42"/>
                  </a:cubicBezTo>
                  <a:cubicBezTo>
                    <a:pt x="139" y="42"/>
                    <a:pt x="143" y="38"/>
                    <a:pt x="143" y="34"/>
                  </a:cubicBezTo>
                  <a:cubicBezTo>
                    <a:pt x="143" y="30"/>
                    <a:pt x="139" y="26"/>
                    <a:pt x="135" y="26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68554" tIns="34286" rIns="68554" bIns="34286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="" xmlns:a16="http://schemas.microsoft.com/office/drawing/2014/main" id="{15AB9C5B-5391-4244-8585-795E6A892A30}"/>
              </a:ext>
            </a:extLst>
          </p:cNvPr>
          <p:cNvGrpSpPr/>
          <p:nvPr/>
        </p:nvGrpSpPr>
        <p:grpSpPr>
          <a:xfrm>
            <a:off x="504000" y="4495352"/>
            <a:ext cx="10663800" cy="1461676"/>
            <a:chOff x="336000" y="4509000"/>
            <a:chExt cx="10663800" cy="1461676"/>
          </a:xfrm>
        </p:grpSpPr>
        <p:sp>
          <p:nvSpPr>
            <p:cNvPr id="33" name="Rectangle: Rounded Corners 32">
              <a:extLst>
                <a:ext uri="{FF2B5EF4-FFF2-40B4-BE49-F238E27FC236}">
                  <a16:creationId xmlns="" xmlns:a16="http://schemas.microsoft.com/office/drawing/2014/main" id="{C0B47EBE-6D65-4CAB-A837-3F2E11690C2C}"/>
                </a:ext>
              </a:extLst>
            </p:cNvPr>
            <p:cNvSpPr/>
            <p:nvPr/>
          </p:nvSpPr>
          <p:spPr>
            <a:xfrm>
              <a:off x="1279800" y="4509000"/>
              <a:ext cx="9720000" cy="1461676"/>
            </a:xfrm>
            <a:prstGeom prst="roundRect">
              <a:avLst/>
            </a:prstGeom>
            <a:solidFill>
              <a:srgbClr val="274557">
                <a:alpha val="55000"/>
              </a:srgbClr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14400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185738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Gestione della priorità dei mezzi di sicurezza o di servizio ad un incrocio </a:t>
              </a:r>
              <a:br>
                <a:rPr kumimoji="0" lang="it-IT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it-IT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ttraverso il controllo intelligente dei semafori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" name="Hexagon 33">
              <a:extLst>
                <a:ext uri="{FF2B5EF4-FFF2-40B4-BE49-F238E27FC236}">
                  <a16:creationId xmlns="" xmlns:a16="http://schemas.microsoft.com/office/drawing/2014/main" id="{FDDAFCD6-AC90-4C29-8E9F-9D6FC4AAE312}"/>
                </a:ext>
              </a:extLst>
            </p:cNvPr>
            <p:cNvSpPr/>
            <p:nvPr/>
          </p:nvSpPr>
          <p:spPr>
            <a:xfrm>
              <a:off x="336000" y="4879838"/>
              <a:ext cx="720000" cy="720000"/>
            </a:xfrm>
            <a:prstGeom prst="hexagon">
              <a:avLst/>
            </a:prstGeom>
            <a:solidFill>
              <a:srgbClr val="007B78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486000" rIns="108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5" name="Rectangle: Rounded Corners 34">
              <a:extLst>
                <a:ext uri="{FF2B5EF4-FFF2-40B4-BE49-F238E27FC236}">
                  <a16:creationId xmlns="" xmlns:a16="http://schemas.microsoft.com/office/drawing/2014/main" id="{0B93445F-9FC6-45DB-AD2E-264B3F21164D}"/>
                </a:ext>
              </a:extLst>
            </p:cNvPr>
            <p:cNvSpPr/>
            <p:nvPr/>
          </p:nvSpPr>
          <p:spPr>
            <a:xfrm>
              <a:off x="1279800" y="4509001"/>
              <a:ext cx="8530978" cy="720000"/>
            </a:xfrm>
            <a:prstGeom prst="roundRect">
              <a:avLst/>
            </a:prstGeom>
            <a:solidFill>
              <a:srgbClr val="00A9D4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	</a:t>
              </a:r>
              <a:r>
                <a:rPr kumimoji="0" lang="it-IT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	</a:t>
              </a:r>
              <a:r>
                <a:rPr kumimoji="0" lang="it-IT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Priorità dei mezzi di trasporto pubblico e di servizio</a:t>
              </a:r>
              <a:endPara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="" xmlns:a16="http://schemas.microsoft.com/office/drawing/2014/main" id="{0EA5E4F2-0FFB-442F-B0BC-BCD9B8932135}"/>
                </a:ext>
              </a:extLst>
            </p:cNvPr>
            <p:cNvSpPr/>
            <p:nvPr/>
          </p:nvSpPr>
          <p:spPr>
            <a:xfrm>
              <a:off x="1279800" y="4509001"/>
              <a:ext cx="1800000" cy="720000"/>
            </a:xfrm>
            <a:prstGeom prst="roundRect">
              <a:avLst/>
            </a:prstGeom>
            <a:solidFill>
              <a:srgbClr val="007B78"/>
            </a:solidFill>
            <a:ln w="1270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7" name="Freeform 6">
              <a:extLst>
                <a:ext uri="{FF2B5EF4-FFF2-40B4-BE49-F238E27FC236}">
                  <a16:creationId xmlns="" xmlns:a16="http://schemas.microsoft.com/office/drawing/2014/main" id="{26E1912D-8A9B-4018-9E40-A3A36098A58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794209" y="4543700"/>
              <a:ext cx="204659" cy="547516"/>
            </a:xfrm>
            <a:custGeom>
              <a:avLst/>
              <a:gdLst>
                <a:gd name="T0" fmla="*/ 2147483646 w 114"/>
                <a:gd name="T1" fmla="*/ 2147483646 h 401"/>
                <a:gd name="T2" fmla="*/ 2147483646 w 114"/>
                <a:gd name="T3" fmla="*/ 2147483646 h 401"/>
                <a:gd name="T4" fmla="*/ 2147483646 w 114"/>
                <a:gd name="T5" fmla="*/ 2147483646 h 401"/>
                <a:gd name="T6" fmla="*/ 2147483646 w 114"/>
                <a:gd name="T7" fmla="*/ 2147483646 h 401"/>
                <a:gd name="T8" fmla="*/ 2147483646 w 114"/>
                <a:gd name="T9" fmla="*/ 2147483646 h 401"/>
                <a:gd name="T10" fmla="*/ 2147483646 w 114"/>
                <a:gd name="T11" fmla="*/ 2147483646 h 401"/>
                <a:gd name="T12" fmla="*/ 2147483646 w 114"/>
                <a:gd name="T13" fmla="*/ 2147483646 h 401"/>
                <a:gd name="T14" fmla="*/ 2147483646 w 114"/>
                <a:gd name="T15" fmla="*/ 2147483646 h 401"/>
                <a:gd name="T16" fmla="*/ 2147483646 w 114"/>
                <a:gd name="T17" fmla="*/ 2147483646 h 401"/>
                <a:gd name="T18" fmla="*/ 2147483646 w 114"/>
                <a:gd name="T19" fmla="*/ 2147483646 h 401"/>
                <a:gd name="T20" fmla="*/ 2147483646 w 114"/>
                <a:gd name="T21" fmla="*/ 2147483646 h 401"/>
                <a:gd name="T22" fmla="*/ 2147483646 w 114"/>
                <a:gd name="T23" fmla="*/ 2147483646 h 401"/>
                <a:gd name="T24" fmla="*/ 2147483646 w 114"/>
                <a:gd name="T25" fmla="*/ 2147483646 h 401"/>
                <a:gd name="T26" fmla="*/ 2147483646 w 114"/>
                <a:gd name="T27" fmla="*/ 2147483646 h 401"/>
                <a:gd name="T28" fmla="*/ 2147483646 w 114"/>
                <a:gd name="T29" fmla="*/ 2147483646 h 401"/>
                <a:gd name="T30" fmla="*/ 2147483646 w 114"/>
                <a:gd name="T31" fmla="*/ 2147483646 h 401"/>
                <a:gd name="T32" fmla="*/ 2147483646 w 114"/>
                <a:gd name="T33" fmla="*/ 2147483646 h 401"/>
                <a:gd name="T34" fmla="*/ 2147483646 w 114"/>
                <a:gd name="T35" fmla="*/ 2147483646 h 401"/>
                <a:gd name="T36" fmla="*/ 2147483646 w 114"/>
                <a:gd name="T37" fmla="*/ 0 h 401"/>
                <a:gd name="T38" fmla="*/ 0 w 114"/>
                <a:gd name="T39" fmla="*/ 2147483646 h 401"/>
                <a:gd name="T40" fmla="*/ 0 w 114"/>
                <a:gd name="T41" fmla="*/ 2147483646 h 401"/>
                <a:gd name="T42" fmla="*/ 2147483646 w 114"/>
                <a:gd name="T43" fmla="*/ 2147483646 h 401"/>
                <a:gd name="T44" fmla="*/ 2147483646 w 114"/>
                <a:gd name="T45" fmla="*/ 2147483646 h 401"/>
                <a:gd name="T46" fmla="*/ 2147483646 w 114"/>
                <a:gd name="T47" fmla="*/ 2147483646 h 401"/>
                <a:gd name="T48" fmla="*/ 2147483646 w 114"/>
                <a:gd name="T49" fmla="*/ 2147483646 h 401"/>
                <a:gd name="T50" fmla="*/ 2147483646 w 114"/>
                <a:gd name="T51" fmla="*/ 2147483646 h 401"/>
                <a:gd name="T52" fmla="*/ 2147483646 w 114"/>
                <a:gd name="T53" fmla="*/ 2147483646 h 401"/>
                <a:gd name="T54" fmla="*/ 2147483646 w 114"/>
                <a:gd name="T55" fmla="*/ 2147483646 h 401"/>
                <a:gd name="T56" fmla="*/ 2147483646 w 114"/>
                <a:gd name="T57" fmla="*/ 2147483646 h 401"/>
                <a:gd name="T58" fmla="*/ 2147483646 w 114"/>
                <a:gd name="T59" fmla="*/ 2147483646 h 401"/>
                <a:gd name="T60" fmla="*/ 2147483646 w 114"/>
                <a:gd name="T61" fmla="*/ 2147483646 h 401"/>
                <a:gd name="T62" fmla="*/ 2147483646 w 114"/>
                <a:gd name="T63" fmla="*/ 2147483646 h 401"/>
                <a:gd name="T64" fmla="*/ 2147483646 w 114"/>
                <a:gd name="T65" fmla="*/ 2147483646 h 401"/>
                <a:gd name="T66" fmla="*/ 2147483646 w 114"/>
                <a:gd name="T67" fmla="*/ 2147483646 h 401"/>
                <a:gd name="T68" fmla="*/ 2147483646 w 114"/>
                <a:gd name="T69" fmla="*/ 2147483646 h 401"/>
                <a:gd name="T70" fmla="*/ 2147483646 w 114"/>
                <a:gd name="T71" fmla="*/ 2147483646 h 401"/>
                <a:gd name="T72" fmla="*/ 2147483646 w 114"/>
                <a:gd name="T73" fmla="*/ 2147483646 h 401"/>
                <a:gd name="T74" fmla="*/ 2147483646 w 114"/>
                <a:gd name="T75" fmla="*/ 2147483646 h 40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14" h="401">
                  <a:moveTo>
                    <a:pt x="81" y="65"/>
                  </a:moveTo>
                  <a:cubicBezTo>
                    <a:pt x="81" y="78"/>
                    <a:pt x="70" y="89"/>
                    <a:pt x="57" y="89"/>
                  </a:cubicBezTo>
                  <a:cubicBezTo>
                    <a:pt x="44" y="89"/>
                    <a:pt x="34" y="78"/>
                    <a:pt x="34" y="65"/>
                  </a:cubicBezTo>
                  <a:cubicBezTo>
                    <a:pt x="34" y="52"/>
                    <a:pt x="44" y="42"/>
                    <a:pt x="57" y="42"/>
                  </a:cubicBezTo>
                  <a:cubicBezTo>
                    <a:pt x="70" y="42"/>
                    <a:pt x="81" y="52"/>
                    <a:pt x="81" y="65"/>
                  </a:cubicBezTo>
                  <a:close/>
                  <a:moveTo>
                    <a:pt x="57" y="124"/>
                  </a:moveTo>
                  <a:cubicBezTo>
                    <a:pt x="44" y="124"/>
                    <a:pt x="34" y="135"/>
                    <a:pt x="34" y="148"/>
                  </a:cubicBezTo>
                  <a:cubicBezTo>
                    <a:pt x="34" y="161"/>
                    <a:pt x="44" y="171"/>
                    <a:pt x="57" y="171"/>
                  </a:cubicBezTo>
                  <a:cubicBezTo>
                    <a:pt x="70" y="171"/>
                    <a:pt x="81" y="161"/>
                    <a:pt x="81" y="148"/>
                  </a:cubicBezTo>
                  <a:cubicBezTo>
                    <a:pt x="81" y="135"/>
                    <a:pt x="70" y="124"/>
                    <a:pt x="57" y="124"/>
                  </a:cubicBezTo>
                  <a:close/>
                  <a:moveTo>
                    <a:pt x="57" y="207"/>
                  </a:moveTo>
                  <a:cubicBezTo>
                    <a:pt x="44" y="207"/>
                    <a:pt x="34" y="217"/>
                    <a:pt x="34" y="230"/>
                  </a:cubicBezTo>
                  <a:cubicBezTo>
                    <a:pt x="34" y="243"/>
                    <a:pt x="44" y="254"/>
                    <a:pt x="57" y="254"/>
                  </a:cubicBezTo>
                  <a:cubicBezTo>
                    <a:pt x="70" y="254"/>
                    <a:pt x="81" y="243"/>
                    <a:pt x="81" y="230"/>
                  </a:cubicBezTo>
                  <a:cubicBezTo>
                    <a:pt x="81" y="217"/>
                    <a:pt x="70" y="207"/>
                    <a:pt x="57" y="207"/>
                  </a:cubicBezTo>
                  <a:close/>
                  <a:moveTo>
                    <a:pt x="106" y="91"/>
                  </a:moveTo>
                  <a:cubicBezTo>
                    <a:pt x="111" y="91"/>
                    <a:pt x="114" y="87"/>
                    <a:pt x="114" y="83"/>
                  </a:cubicBezTo>
                  <a:cubicBezTo>
                    <a:pt x="114" y="57"/>
                    <a:pt x="114" y="57"/>
                    <a:pt x="114" y="57"/>
                  </a:cubicBezTo>
                  <a:cubicBezTo>
                    <a:pt x="114" y="26"/>
                    <a:pt x="89" y="0"/>
                    <a:pt x="57" y="0"/>
                  </a:cubicBezTo>
                  <a:cubicBezTo>
                    <a:pt x="26" y="0"/>
                    <a:pt x="0" y="26"/>
                    <a:pt x="0" y="57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0" y="267"/>
                    <a:pt x="22" y="291"/>
                    <a:pt x="49" y="295"/>
                  </a:cubicBezTo>
                  <a:cubicBezTo>
                    <a:pt x="49" y="393"/>
                    <a:pt x="49" y="393"/>
                    <a:pt x="49" y="393"/>
                  </a:cubicBezTo>
                  <a:cubicBezTo>
                    <a:pt x="49" y="398"/>
                    <a:pt x="53" y="401"/>
                    <a:pt x="57" y="401"/>
                  </a:cubicBezTo>
                  <a:cubicBezTo>
                    <a:pt x="62" y="401"/>
                    <a:pt x="65" y="398"/>
                    <a:pt x="65" y="393"/>
                  </a:cubicBezTo>
                  <a:cubicBezTo>
                    <a:pt x="65" y="295"/>
                    <a:pt x="65" y="295"/>
                    <a:pt x="65" y="295"/>
                  </a:cubicBezTo>
                  <a:cubicBezTo>
                    <a:pt x="93" y="291"/>
                    <a:pt x="114" y="267"/>
                    <a:pt x="114" y="238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114" y="110"/>
                    <a:pt x="111" y="107"/>
                    <a:pt x="106" y="107"/>
                  </a:cubicBezTo>
                  <a:cubicBezTo>
                    <a:pt x="102" y="107"/>
                    <a:pt x="98" y="110"/>
                    <a:pt x="98" y="115"/>
                  </a:cubicBezTo>
                  <a:cubicBezTo>
                    <a:pt x="98" y="238"/>
                    <a:pt x="98" y="238"/>
                    <a:pt x="98" y="238"/>
                  </a:cubicBezTo>
                  <a:cubicBezTo>
                    <a:pt x="98" y="261"/>
                    <a:pt x="80" y="279"/>
                    <a:pt x="57" y="279"/>
                  </a:cubicBezTo>
                  <a:cubicBezTo>
                    <a:pt x="35" y="279"/>
                    <a:pt x="16" y="261"/>
                    <a:pt x="16" y="23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6" y="35"/>
                    <a:pt x="35" y="16"/>
                    <a:pt x="57" y="16"/>
                  </a:cubicBezTo>
                  <a:cubicBezTo>
                    <a:pt x="80" y="16"/>
                    <a:pt x="98" y="35"/>
                    <a:pt x="98" y="57"/>
                  </a:cubicBezTo>
                  <a:cubicBezTo>
                    <a:pt x="98" y="83"/>
                    <a:pt x="98" y="83"/>
                    <a:pt x="98" y="83"/>
                  </a:cubicBezTo>
                  <a:cubicBezTo>
                    <a:pt x="98" y="87"/>
                    <a:pt x="102" y="91"/>
                    <a:pt x="106" y="9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28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="" xmlns:a16="http://schemas.microsoft.com/office/drawing/2014/main" id="{466127A2-86DD-4A3D-B6BD-488A28AD715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116109" y="4647732"/>
              <a:ext cx="204659" cy="547516"/>
            </a:xfrm>
            <a:custGeom>
              <a:avLst/>
              <a:gdLst>
                <a:gd name="T0" fmla="*/ 2147483646 w 114"/>
                <a:gd name="T1" fmla="*/ 2147483646 h 401"/>
                <a:gd name="T2" fmla="*/ 2147483646 w 114"/>
                <a:gd name="T3" fmla="*/ 2147483646 h 401"/>
                <a:gd name="T4" fmla="*/ 2147483646 w 114"/>
                <a:gd name="T5" fmla="*/ 2147483646 h 401"/>
                <a:gd name="T6" fmla="*/ 2147483646 w 114"/>
                <a:gd name="T7" fmla="*/ 2147483646 h 401"/>
                <a:gd name="T8" fmla="*/ 2147483646 w 114"/>
                <a:gd name="T9" fmla="*/ 2147483646 h 401"/>
                <a:gd name="T10" fmla="*/ 2147483646 w 114"/>
                <a:gd name="T11" fmla="*/ 2147483646 h 401"/>
                <a:gd name="T12" fmla="*/ 2147483646 w 114"/>
                <a:gd name="T13" fmla="*/ 2147483646 h 401"/>
                <a:gd name="T14" fmla="*/ 2147483646 w 114"/>
                <a:gd name="T15" fmla="*/ 2147483646 h 401"/>
                <a:gd name="T16" fmla="*/ 2147483646 w 114"/>
                <a:gd name="T17" fmla="*/ 2147483646 h 401"/>
                <a:gd name="T18" fmla="*/ 2147483646 w 114"/>
                <a:gd name="T19" fmla="*/ 2147483646 h 401"/>
                <a:gd name="T20" fmla="*/ 2147483646 w 114"/>
                <a:gd name="T21" fmla="*/ 2147483646 h 401"/>
                <a:gd name="T22" fmla="*/ 2147483646 w 114"/>
                <a:gd name="T23" fmla="*/ 2147483646 h 401"/>
                <a:gd name="T24" fmla="*/ 2147483646 w 114"/>
                <a:gd name="T25" fmla="*/ 2147483646 h 401"/>
                <a:gd name="T26" fmla="*/ 2147483646 w 114"/>
                <a:gd name="T27" fmla="*/ 2147483646 h 401"/>
                <a:gd name="T28" fmla="*/ 2147483646 w 114"/>
                <a:gd name="T29" fmla="*/ 2147483646 h 401"/>
                <a:gd name="T30" fmla="*/ 2147483646 w 114"/>
                <a:gd name="T31" fmla="*/ 2147483646 h 401"/>
                <a:gd name="T32" fmla="*/ 2147483646 w 114"/>
                <a:gd name="T33" fmla="*/ 2147483646 h 401"/>
                <a:gd name="T34" fmla="*/ 2147483646 w 114"/>
                <a:gd name="T35" fmla="*/ 2147483646 h 401"/>
                <a:gd name="T36" fmla="*/ 2147483646 w 114"/>
                <a:gd name="T37" fmla="*/ 0 h 401"/>
                <a:gd name="T38" fmla="*/ 0 w 114"/>
                <a:gd name="T39" fmla="*/ 2147483646 h 401"/>
                <a:gd name="T40" fmla="*/ 0 w 114"/>
                <a:gd name="T41" fmla="*/ 2147483646 h 401"/>
                <a:gd name="T42" fmla="*/ 2147483646 w 114"/>
                <a:gd name="T43" fmla="*/ 2147483646 h 401"/>
                <a:gd name="T44" fmla="*/ 2147483646 w 114"/>
                <a:gd name="T45" fmla="*/ 2147483646 h 401"/>
                <a:gd name="T46" fmla="*/ 2147483646 w 114"/>
                <a:gd name="T47" fmla="*/ 2147483646 h 401"/>
                <a:gd name="T48" fmla="*/ 2147483646 w 114"/>
                <a:gd name="T49" fmla="*/ 2147483646 h 401"/>
                <a:gd name="T50" fmla="*/ 2147483646 w 114"/>
                <a:gd name="T51" fmla="*/ 2147483646 h 401"/>
                <a:gd name="T52" fmla="*/ 2147483646 w 114"/>
                <a:gd name="T53" fmla="*/ 2147483646 h 401"/>
                <a:gd name="T54" fmla="*/ 2147483646 w 114"/>
                <a:gd name="T55" fmla="*/ 2147483646 h 401"/>
                <a:gd name="T56" fmla="*/ 2147483646 w 114"/>
                <a:gd name="T57" fmla="*/ 2147483646 h 401"/>
                <a:gd name="T58" fmla="*/ 2147483646 w 114"/>
                <a:gd name="T59" fmla="*/ 2147483646 h 401"/>
                <a:gd name="T60" fmla="*/ 2147483646 w 114"/>
                <a:gd name="T61" fmla="*/ 2147483646 h 401"/>
                <a:gd name="T62" fmla="*/ 2147483646 w 114"/>
                <a:gd name="T63" fmla="*/ 2147483646 h 401"/>
                <a:gd name="T64" fmla="*/ 2147483646 w 114"/>
                <a:gd name="T65" fmla="*/ 2147483646 h 401"/>
                <a:gd name="T66" fmla="*/ 2147483646 w 114"/>
                <a:gd name="T67" fmla="*/ 2147483646 h 401"/>
                <a:gd name="T68" fmla="*/ 2147483646 w 114"/>
                <a:gd name="T69" fmla="*/ 2147483646 h 401"/>
                <a:gd name="T70" fmla="*/ 2147483646 w 114"/>
                <a:gd name="T71" fmla="*/ 2147483646 h 401"/>
                <a:gd name="T72" fmla="*/ 2147483646 w 114"/>
                <a:gd name="T73" fmla="*/ 2147483646 h 401"/>
                <a:gd name="T74" fmla="*/ 2147483646 w 114"/>
                <a:gd name="T75" fmla="*/ 2147483646 h 40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14" h="401">
                  <a:moveTo>
                    <a:pt x="81" y="65"/>
                  </a:moveTo>
                  <a:cubicBezTo>
                    <a:pt x="81" y="78"/>
                    <a:pt x="70" y="89"/>
                    <a:pt x="57" y="89"/>
                  </a:cubicBezTo>
                  <a:cubicBezTo>
                    <a:pt x="44" y="89"/>
                    <a:pt x="34" y="78"/>
                    <a:pt x="34" y="65"/>
                  </a:cubicBezTo>
                  <a:cubicBezTo>
                    <a:pt x="34" y="52"/>
                    <a:pt x="44" y="42"/>
                    <a:pt x="57" y="42"/>
                  </a:cubicBezTo>
                  <a:cubicBezTo>
                    <a:pt x="70" y="42"/>
                    <a:pt x="81" y="52"/>
                    <a:pt x="81" y="65"/>
                  </a:cubicBezTo>
                  <a:close/>
                  <a:moveTo>
                    <a:pt x="57" y="124"/>
                  </a:moveTo>
                  <a:cubicBezTo>
                    <a:pt x="44" y="124"/>
                    <a:pt x="34" y="135"/>
                    <a:pt x="34" y="148"/>
                  </a:cubicBezTo>
                  <a:cubicBezTo>
                    <a:pt x="34" y="161"/>
                    <a:pt x="44" y="171"/>
                    <a:pt x="57" y="171"/>
                  </a:cubicBezTo>
                  <a:cubicBezTo>
                    <a:pt x="70" y="171"/>
                    <a:pt x="81" y="161"/>
                    <a:pt x="81" y="148"/>
                  </a:cubicBezTo>
                  <a:cubicBezTo>
                    <a:pt x="81" y="135"/>
                    <a:pt x="70" y="124"/>
                    <a:pt x="57" y="124"/>
                  </a:cubicBezTo>
                  <a:close/>
                  <a:moveTo>
                    <a:pt x="57" y="207"/>
                  </a:moveTo>
                  <a:cubicBezTo>
                    <a:pt x="44" y="207"/>
                    <a:pt x="34" y="217"/>
                    <a:pt x="34" y="230"/>
                  </a:cubicBezTo>
                  <a:cubicBezTo>
                    <a:pt x="34" y="243"/>
                    <a:pt x="44" y="254"/>
                    <a:pt x="57" y="254"/>
                  </a:cubicBezTo>
                  <a:cubicBezTo>
                    <a:pt x="70" y="254"/>
                    <a:pt x="81" y="243"/>
                    <a:pt x="81" y="230"/>
                  </a:cubicBezTo>
                  <a:cubicBezTo>
                    <a:pt x="81" y="217"/>
                    <a:pt x="70" y="207"/>
                    <a:pt x="57" y="207"/>
                  </a:cubicBezTo>
                  <a:close/>
                  <a:moveTo>
                    <a:pt x="106" y="91"/>
                  </a:moveTo>
                  <a:cubicBezTo>
                    <a:pt x="111" y="91"/>
                    <a:pt x="114" y="87"/>
                    <a:pt x="114" y="83"/>
                  </a:cubicBezTo>
                  <a:cubicBezTo>
                    <a:pt x="114" y="57"/>
                    <a:pt x="114" y="57"/>
                    <a:pt x="114" y="57"/>
                  </a:cubicBezTo>
                  <a:cubicBezTo>
                    <a:pt x="114" y="26"/>
                    <a:pt x="89" y="0"/>
                    <a:pt x="57" y="0"/>
                  </a:cubicBezTo>
                  <a:cubicBezTo>
                    <a:pt x="26" y="0"/>
                    <a:pt x="0" y="26"/>
                    <a:pt x="0" y="57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0" y="267"/>
                    <a:pt x="22" y="291"/>
                    <a:pt x="49" y="295"/>
                  </a:cubicBezTo>
                  <a:cubicBezTo>
                    <a:pt x="49" y="393"/>
                    <a:pt x="49" y="393"/>
                    <a:pt x="49" y="393"/>
                  </a:cubicBezTo>
                  <a:cubicBezTo>
                    <a:pt x="49" y="398"/>
                    <a:pt x="53" y="401"/>
                    <a:pt x="57" y="401"/>
                  </a:cubicBezTo>
                  <a:cubicBezTo>
                    <a:pt x="62" y="401"/>
                    <a:pt x="65" y="398"/>
                    <a:pt x="65" y="393"/>
                  </a:cubicBezTo>
                  <a:cubicBezTo>
                    <a:pt x="65" y="295"/>
                    <a:pt x="65" y="295"/>
                    <a:pt x="65" y="295"/>
                  </a:cubicBezTo>
                  <a:cubicBezTo>
                    <a:pt x="93" y="291"/>
                    <a:pt x="114" y="267"/>
                    <a:pt x="114" y="238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114" y="110"/>
                    <a:pt x="111" y="107"/>
                    <a:pt x="106" y="107"/>
                  </a:cubicBezTo>
                  <a:cubicBezTo>
                    <a:pt x="102" y="107"/>
                    <a:pt x="98" y="110"/>
                    <a:pt x="98" y="115"/>
                  </a:cubicBezTo>
                  <a:cubicBezTo>
                    <a:pt x="98" y="238"/>
                    <a:pt x="98" y="238"/>
                    <a:pt x="98" y="238"/>
                  </a:cubicBezTo>
                  <a:cubicBezTo>
                    <a:pt x="98" y="261"/>
                    <a:pt x="80" y="279"/>
                    <a:pt x="57" y="279"/>
                  </a:cubicBezTo>
                  <a:cubicBezTo>
                    <a:pt x="35" y="279"/>
                    <a:pt x="16" y="261"/>
                    <a:pt x="16" y="23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6" y="35"/>
                    <a:pt x="35" y="16"/>
                    <a:pt x="57" y="16"/>
                  </a:cubicBezTo>
                  <a:cubicBezTo>
                    <a:pt x="80" y="16"/>
                    <a:pt x="98" y="35"/>
                    <a:pt x="98" y="57"/>
                  </a:cubicBezTo>
                  <a:cubicBezTo>
                    <a:pt x="98" y="83"/>
                    <a:pt x="98" y="83"/>
                    <a:pt x="98" y="83"/>
                  </a:cubicBezTo>
                  <a:cubicBezTo>
                    <a:pt x="98" y="87"/>
                    <a:pt x="102" y="91"/>
                    <a:pt x="106" y="9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28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9" name="Freeform 6">
              <a:extLst>
                <a:ext uri="{FF2B5EF4-FFF2-40B4-BE49-F238E27FC236}">
                  <a16:creationId xmlns="" xmlns:a16="http://schemas.microsoft.com/office/drawing/2014/main" id="{8C1F4A57-53C9-406E-AE24-5C2EED99D6B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422800" y="4543699"/>
              <a:ext cx="204659" cy="547516"/>
            </a:xfrm>
            <a:custGeom>
              <a:avLst/>
              <a:gdLst>
                <a:gd name="T0" fmla="*/ 2147483646 w 114"/>
                <a:gd name="T1" fmla="*/ 2147483646 h 401"/>
                <a:gd name="T2" fmla="*/ 2147483646 w 114"/>
                <a:gd name="T3" fmla="*/ 2147483646 h 401"/>
                <a:gd name="T4" fmla="*/ 2147483646 w 114"/>
                <a:gd name="T5" fmla="*/ 2147483646 h 401"/>
                <a:gd name="T6" fmla="*/ 2147483646 w 114"/>
                <a:gd name="T7" fmla="*/ 2147483646 h 401"/>
                <a:gd name="T8" fmla="*/ 2147483646 w 114"/>
                <a:gd name="T9" fmla="*/ 2147483646 h 401"/>
                <a:gd name="T10" fmla="*/ 2147483646 w 114"/>
                <a:gd name="T11" fmla="*/ 2147483646 h 401"/>
                <a:gd name="T12" fmla="*/ 2147483646 w 114"/>
                <a:gd name="T13" fmla="*/ 2147483646 h 401"/>
                <a:gd name="T14" fmla="*/ 2147483646 w 114"/>
                <a:gd name="T15" fmla="*/ 2147483646 h 401"/>
                <a:gd name="T16" fmla="*/ 2147483646 w 114"/>
                <a:gd name="T17" fmla="*/ 2147483646 h 401"/>
                <a:gd name="T18" fmla="*/ 2147483646 w 114"/>
                <a:gd name="T19" fmla="*/ 2147483646 h 401"/>
                <a:gd name="T20" fmla="*/ 2147483646 w 114"/>
                <a:gd name="T21" fmla="*/ 2147483646 h 401"/>
                <a:gd name="T22" fmla="*/ 2147483646 w 114"/>
                <a:gd name="T23" fmla="*/ 2147483646 h 401"/>
                <a:gd name="T24" fmla="*/ 2147483646 w 114"/>
                <a:gd name="T25" fmla="*/ 2147483646 h 401"/>
                <a:gd name="T26" fmla="*/ 2147483646 w 114"/>
                <a:gd name="T27" fmla="*/ 2147483646 h 401"/>
                <a:gd name="T28" fmla="*/ 2147483646 w 114"/>
                <a:gd name="T29" fmla="*/ 2147483646 h 401"/>
                <a:gd name="T30" fmla="*/ 2147483646 w 114"/>
                <a:gd name="T31" fmla="*/ 2147483646 h 401"/>
                <a:gd name="T32" fmla="*/ 2147483646 w 114"/>
                <a:gd name="T33" fmla="*/ 2147483646 h 401"/>
                <a:gd name="T34" fmla="*/ 2147483646 w 114"/>
                <a:gd name="T35" fmla="*/ 2147483646 h 401"/>
                <a:gd name="T36" fmla="*/ 2147483646 w 114"/>
                <a:gd name="T37" fmla="*/ 0 h 401"/>
                <a:gd name="T38" fmla="*/ 0 w 114"/>
                <a:gd name="T39" fmla="*/ 2147483646 h 401"/>
                <a:gd name="T40" fmla="*/ 0 w 114"/>
                <a:gd name="T41" fmla="*/ 2147483646 h 401"/>
                <a:gd name="T42" fmla="*/ 2147483646 w 114"/>
                <a:gd name="T43" fmla="*/ 2147483646 h 401"/>
                <a:gd name="T44" fmla="*/ 2147483646 w 114"/>
                <a:gd name="T45" fmla="*/ 2147483646 h 401"/>
                <a:gd name="T46" fmla="*/ 2147483646 w 114"/>
                <a:gd name="T47" fmla="*/ 2147483646 h 401"/>
                <a:gd name="T48" fmla="*/ 2147483646 w 114"/>
                <a:gd name="T49" fmla="*/ 2147483646 h 401"/>
                <a:gd name="T50" fmla="*/ 2147483646 w 114"/>
                <a:gd name="T51" fmla="*/ 2147483646 h 401"/>
                <a:gd name="T52" fmla="*/ 2147483646 w 114"/>
                <a:gd name="T53" fmla="*/ 2147483646 h 401"/>
                <a:gd name="T54" fmla="*/ 2147483646 w 114"/>
                <a:gd name="T55" fmla="*/ 2147483646 h 401"/>
                <a:gd name="T56" fmla="*/ 2147483646 w 114"/>
                <a:gd name="T57" fmla="*/ 2147483646 h 401"/>
                <a:gd name="T58" fmla="*/ 2147483646 w 114"/>
                <a:gd name="T59" fmla="*/ 2147483646 h 401"/>
                <a:gd name="T60" fmla="*/ 2147483646 w 114"/>
                <a:gd name="T61" fmla="*/ 2147483646 h 401"/>
                <a:gd name="T62" fmla="*/ 2147483646 w 114"/>
                <a:gd name="T63" fmla="*/ 2147483646 h 401"/>
                <a:gd name="T64" fmla="*/ 2147483646 w 114"/>
                <a:gd name="T65" fmla="*/ 2147483646 h 401"/>
                <a:gd name="T66" fmla="*/ 2147483646 w 114"/>
                <a:gd name="T67" fmla="*/ 2147483646 h 401"/>
                <a:gd name="T68" fmla="*/ 2147483646 w 114"/>
                <a:gd name="T69" fmla="*/ 2147483646 h 401"/>
                <a:gd name="T70" fmla="*/ 2147483646 w 114"/>
                <a:gd name="T71" fmla="*/ 2147483646 h 401"/>
                <a:gd name="T72" fmla="*/ 2147483646 w 114"/>
                <a:gd name="T73" fmla="*/ 2147483646 h 401"/>
                <a:gd name="T74" fmla="*/ 2147483646 w 114"/>
                <a:gd name="T75" fmla="*/ 2147483646 h 40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14" h="401">
                  <a:moveTo>
                    <a:pt x="81" y="65"/>
                  </a:moveTo>
                  <a:cubicBezTo>
                    <a:pt x="81" y="78"/>
                    <a:pt x="70" y="89"/>
                    <a:pt x="57" y="89"/>
                  </a:cubicBezTo>
                  <a:cubicBezTo>
                    <a:pt x="44" y="89"/>
                    <a:pt x="34" y="78"/>
                    <a:pt x="34" y="65"/>
                  </a:cubicBezTo>
                  <a:cubicBezTo>
                    <a:pt x="34" y="52"/>
                    <a:pt x="44" y="42"/>
                    <a:pt x="57" y="42"/>
                  </a:cubicBezTo>
                  <a:cubicBezTo>
                    <a:pt x="70" y="42"/>
                    <a:pt x="81" y="52"/>
                    <a:pt x="81" y="65"/>
                  </a:cubicBezTo>
                  <a:close/>
                  <a:moveTo>
                    <a:pt x="57" y="124"/>
                  </a:moveTo>
                  <a:cubicBezTo>
                    <a:pt x="44" y="124"/>
                    <a:pt x="34" y="135"/>
                    <a:pt x="34" y="148"/>
                  </a:cubicBezTo>
                  <a:cubicBezTo>
                    <a:pt x="34" y="161"/>
                    <a:pt x="44" y="171"/>
                    <a:pt x="57" y="171"/>
                  </a:cubicBezTo>
                  <a:cubicBezTo>
                    <a:pt x="70" y="171"/>
                    <a:pt x="81" y="161"/>
                    <a:pt x="81" y="148"/>
                  </a:cubicBezTo>
                  <a:cubicBezTo>
                    <a:pt x="81" y="135"/>
                    <a:pt x="70" y="124"/>
                    <a:pt x="57" y="124"/>
                  </a:cubicBezTo>
                  <a:close/>
                  <a:moveTo>
                    <a:pt x="57" y="207"/>
                  </a:moveTo>
                  <a:cubicBezTo>
                    <a:pt x="44" y="207"/>
                    <a:pt x="34" y="217"/>
                    <a:pt x="34" y="230"/>
                  </a:cubicBezTo>
                  <a:cubicBezTo>
                    <a:pt x="34" y="243"/>
                    <a:pt x="44" y="254"/>
                    <a:pt x="57" y="254"/>
                  </a:cubicBezTo>
                  <a:cubicBezTo>
                    <a:pt x="70" y="254"/>
                    <a:pt x="81" y="243"/>
                    <a:pt x="81" y="230"/>
                  </a:cubicBezTo>
                  <a:cubicBezTo>
                    <a:pt x="81" y="217"/>
                    <a:pt x="70" y="207"/>
                    <a:pt x="57" y="207"/>
                  </a:cubicBezTo>
                  <a:close/>
                  <a:moveTo>
                    <a:pt x="106" y="91"/>
                  </a:moveTo>
                  <a:cubicBezTo>
                    <a:pt x="111" y="91"/>
                    <a:pt x="114" y="87"/>
                    <a:pt x="114" y="83"/>
                  </a:cubicBezTo>
                  <a:cubicBezTo>
                    <a:pt x="114" y="57"/>
                    <a:pt x="114" y="57"/>
                    <a:pt x="114" y="57"/>
                  </a:cubicBezTo>
                  <a:cubicBezTo>
                    <a:pt x="114" y="26"/>
                    <a:pt x="89" y="0"/>
                    <a:pt x="57" y="0"/>
                  </a:cubicBezTo>
                  <a:cubicBezTo>
                    <a:pt x="26" y="0"/>
                    <a:pt x="0" y="26"/>
                    <a:pt x="0" y="57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0" y="267"/>
                    <a:pt x="22" y="291"/>
                    <a:pt x="49" y="295"/>
                  </a:cubicBezTo>
                  <a:cubicBezTo>
                    <a:pt x="49" y="393"/>
                    <a:pt x="49" y="393"/>
                    <a:pt x="49" y="393"/>
                  </a:cubicBezTo>
                  <a:cubicBezTo>
                    <a:pt x="49" y="398"/>
                    <a:pt x="53" y="401"/>
                    <a:pt x="57" y="401"/>
                  </a:cubicBezTo>
                  <a:cubicBezTo>
                    <a:pt x="62" y="401"/>
                    <a:pt x="65" y="398"/>
                    <a:pt x="65" y="393"/>
                  </a:cubicBezTo>
                  <a:cubicBezTo>
                    <a:pt x="65" y="295"/>
                    <a:pt x="65" y="295"/>
                    <a:pt x="65" y="295"/>
                  </a:cubicBezTo>
                  <a:cubicBezTo>
                    <a:pt x="93" y="291"/>
                    <a:pt x="114" y="267"/>
                    <a:pt x="114" y="238"/>
                  </a:cubicBezTo>
                  <a:cubicBezTo>
                    <a:pt x="114" y="115"/>
                    <a:pt x="114" y="115"/>
                    <a:pt x="114" y="115"/>
                  </a:cubicBezTo>
                  <a:cubicBezTo>
                    <a:pt x="114" y="110"/>
                    <a:pt x="111" y="107"/>
                    <a:pt x="106" y="107"/>
                  </a:cubicBezTo>
                  <a:cubicBezTo>
                    <a:pt x="102" y="107"/>
                    <a:pt x="98" y="110"/>
                    <a:pt x="98" y="115"/>
                  </a:cubicBezTo>
                  <a:cubicBezTo>
                    <a:pt x="98" y="238"/>
                    <a:pt x="98" y="238"/>
                    <a:pt x="98" y="238"/>
                  </a:cubicBezTo>
                  <a:cubicBezTo>
                    <a:pt x="98" y="261"/>
                    <a:pt x="80" y="279"/>
                    <a:pt x="57" y="279"/>
                  </a:cubicBezTo>
                  <a:cubicBezTo>
                    <a:pt x="35" y="279"/>
                    <a:pt x="16" y="261"/>
                    <a:pt x="16" y="238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6" y="35"/>
                    <a:pt x="35" y="16"/>
                    <a:pt x="57" y="16"/>
                  </a:cubicBezTo>
                  <a:cubicBezTo>
                    <a:pt x="80" y="16"/>
                    <a:pt x="98" y="35"/>
                    <a:pt x="98" y="57"/>
                  </a:cubicBezTo>
                  <a:cubicBezTo>
                    <a:pt x="98" y="83"/>
                    <a:pt x="98" y="83"/>
                    <a:pt x="98" y="83"/>
                  </a:cubicBezTo>
                  <a:cubicBezTo>
                    <a:pt x="98" y="87"/>
                    <a:pt x="102" y="91"/>
                    <a:pt x="106" y="9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28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41" name="Econ2011">
            <a:extLst>
              <a:ext uri="{FF2B5EF4-FFF2-40B4-BE49-F238E27FC236}">
                <a16:creationId xmlns="" xmlns:a16="http://schemas.microsoft.com/office/drawing/2014/main" id="{AC73085A-20C3-0C4E-A355-434F8955432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09564" y="360000"/>
            <a:ext cx="444500" cy="587195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="" xmlns:a16="http://schemas.microsoft.com/office/drawing/2014/main" id="{F6098E22-44EB-9B40-9D0B-F180399C474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7588" y="113791"/>
            <a:ext cx="10769600" cy="1612900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="" xmlns:a16="http://schemas.microsoft.com/office/drawing/2014/main" id="{167EC08F-A963-B147-92D8-222CCC4B49D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66" y="6132078"/>
            <a:ext cx="12178468" cy="725921"/>
          </a:xfrm>
          <a:prstGeom prst="rect">
            <a:avLst/>
          </a:prstGeom>
        </p:spPr>
      </p:pic>
      <p:sp>
        <p:nvSpPr>
          <p:cNvPr id="44" name="CasellaDiTesto 43"/>
          <p:cNvSpPr txBox="1"/>
          <p:nvPr/>
        </p:nvSpPr>
        <p:spPr>
          <a:xfrm>
            <a:off x="609600" y="4876800"/>
            <a:ext cx="54376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</a:t>
            </a:r>
            <a:endParaRPr lang="it-IT" sz="3600" dirty="0"/>
          </a:p>
        </p:txBody>
      </p:sp>
      <p:sp>
        <p:nvSpPr>
          <p:cNvPr id="3" name="Rettangolo 2"/>
          <p:cNvSpPr/>
          <p:nvPr/>
        </p:nvSpPr>
        <p:spPr>
          <a:xfrm>
            <a:off x="617779" y="1702669"/>
            <a:ext cx="49244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en-US" sz="3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</a:p>
        </p:txBody>
      </p:sp>
    </p:spTree>
    <p:extLst>
      <p:ext uri="{BB962C8B-B14F-4D97-AF65-F5344CB8AC3E}">
        <p14:creationId xmlns:p14="http://schemas.microsoft.com/office/powerpoint/2010/main" val="472493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 descr="ad_ult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7800" y="2438400"/>
            <a:ext cx="9236756" cy="1295400"/>
          </a:xfrm>
          <a:prstGeom prst="rect">
            <a:avLst/>
          </a:prstGeom>
          <a:effectLst>
            <a:outerShdw blurRad="50800" dist="38100" dir="2700000" algn="tl" rotWithShape="0">
              <a:srgbClr val="000000">
                <a:alpha val="52000"/>
              </a:srgbClr>
            </a:outerShdw>
          </a:effectLst>
        </p:spPr>
      </p:pic>
      <p:sp>
        <p:nvSpPr>
          <p:cNvPr id="2" name="Rettangolo 1">
            <a:extLst>
              <a:ext uri="{FF2B5EF4-FFF2-40B4-BE49-F238E27FC236}">
                <a16:creationId xmlns="" xmlns:a16="http://schemas.microsoft.com/office/drawing/2014/main" id="{AF17B92B-F40A-204A-98CC-4437D7910135}"/>
              </a:ext>
            </a:extLst>
          </p:cNvPr>
          <p:cNvSpPr/>
          <p:nvPr/>
        </p:nvSpPr>
        <p:spPr>
          <a:xfrm>
            <a:off x="696000" y="549000"/>
            <a:ext cx="1080000" cy="72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5403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="" xmlns:a16="http://schemas.microsoft.com/office/drawing/2014/main" id="{B68037AA-F631-4739-B9B8-C953302166C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32424"/>
            <a:ext cx="12192000" cy="5923797"/>
          </a:xfrm>
          <a:prstGeom prst="rect">
            <a:avLst/>
          </a:prstGeom>
        </p:spPr>
      </p:pic>
      <p:pic>
        <p:nvPicPr>
          <p:cNvPr id="6" name="Immagine 5" descr="ad_ult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7444" y="1524000"/>
            <a:ext cx="9236756" cy="1295400"/>
          </a:xfrm>
          <a:prstGeom prst="rect">
            <a:avLst/>
          </a:prstGeom>
          <a:effectLst>
            <a:outerShdw blurRad="50800" dist="38100" dir="2700000" algn="tl" rotWithShape="0">
              <a:srgbClr val="000000">
                <a:alpha val="57000"/>
              </a:srgbClr>
            </a:outerShdw>
          </a:effectLst>
        </p:spPr>
      </p:pic>
      <p:pic>
        <p:nvPicPr>
          <p:cNvPr id="3" name="Immagine 2">
            <a:extLst>
              <a:ext uri="{FF2B5EF4-FFF2-40B4-BE49-F238E27FC236}">
                <a16:creationId xmlns="" xmlns:a16="http://schemas.microsoft.com/office/drawing/2014/main" id="{087E171C-943E-3549-96A9-A2F6AA345C5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42383" y="405404"/>
            <a:ext cx="3707234" cy="681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03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4900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="" xmlns:a16="http://schemas.microsoft.com/office/drawing/2014/main" id="{B68037AA-F631-4739-B9B8-C953302166C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32424"/>
            <a:ext cx="12192000" cy="5923797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="" xmlns:a16="http://schemas.microsoft.com/office/drawing/2014/main" id="{087E171C-943E-3549-96A9-A2F6AA345C5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42383" y="405404"/>
            <a:ext cx="3707234" cy="681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031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/>
          <p:cNvSpPr/>
          <p:nvPr/>
        </p:nvSpPr>
        <p:spPr>
          <a:xfrm>
            <a:off x="3216000" y="2349000"/>
            <a:ext cx="5760000" cy="107721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it-IT" sz="32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Andrea Lasagna</a:t>
            </a:r>
          </a:p>
          <a:p>
            <a:pPr algn="ctr"/>
            <a:r>
              <a:rPr lang="it-IT" sz="32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Technology </a:t>
            </a:r>
            <a:r>
              <a:rPr lang="it-IT" sz="3200" b="0" cap="none" spc="0" dirty="0" err="1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Officer</a:t>
            </a:r>
            <a:r>
              <a:rPr lang="it-IT" sz="32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, Fastweb </a:t>
            </a:r>
            <a:endParaRPr lang="it-IT" sz="3200" b="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3206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Immagine 48" descr="fb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52400"/>
            <a:ext cx="12192000" cy="6324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1525"/>
            <a:ext cx="11017800" cy="1263875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it-IT" sz="3200" b="1" kern="1000" spc="-10" dirty="0">
                <a:solidFill>
                  <a:srgbClr val="FFC000"/>
                </a:solidFill>
                <a:latin typeface="Arial"/>
                <a:cs typeface="Arial"/>
              </a:rPr>
              <a:t>          UNA RIVOLUZIONE </a:t>
            </a:r>
            <a:br>
              <a:rPr lang="it-IT" sz="3200" b="1" kern="1000" spc="-10" dirty="0">
                <a:solidFill>
                  <a:srgbClr val="FFC000"/>
                </a:solidFill>
                <a:latin typeface="Arial"/>
                <a:cs typeface="Arial"/>
              </a:rPr>
            </a:br>
            <a:r>
              <a:rPr lang="it-IT" sz="3200" b="1" kern="1000" spc="-10" dirty="0">
                <a:solidFill>
                  <a:srgbClr val="FFC000"/>
                </a:solidFill>
                <a:latin typeface="Arial"/>
                <a:cs typeface="Arial"/>
              </a:rPr>
              <a:t>CHE ABILITERÀ NUOVI MODELLI </a:t>
            </a:r>
            <a:r>
              <a:rPr lang="it-IT" sz="3200" b="1" kern="1000" spc="-10" dirty="0" err="1">
                <a:solidFill>
                  <a:srgbClr val="FFC000"/>
                </a:solidFill>
                <a:latin typeface="Arial"/>
                <a:cs typeface="Arial"/>
              </a:rPr>
              <a:t>DI</a:t>
            </a:r>
            <a:r>
              <a:rPr lang="it-IT" sz="3200" b="1" kern="1000" spc="-10" dirty="0">
                <a:solidFill>
                  <a:srgbClr val="FFC000"/>
                </a:solidFill>
                <a:latin typeface="Arial"/>
                <a:cs typeface="Arial"/>
              </a:rPr>
              <a:t> SERVIZIO</a:t>
            </a:r>
          </a:p>
        </p:txBody>
      </p:sp>
      <p:sp>
        <p:nvSpPr>
          <p:cNvPr id="29" name="Rettangolo 14"/>
          <p:cNvSpPr txBox="1"/>
          <p:nvPr/>
        </p:nvSpPr>
        <p:spPr>
          <a:xfrm>
            <a:off x="5396072" y="1143000"/>
            <a:ext cx="2322890" cy="55516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mv="urn:schemas-microsoft-com:mac:vml" xmlns:mc="http://schemas.openxmlformats.org/markup-compatibility/2006" val="1"/>
            </a:ext>
          </a:extLst>
        </p:spPr>
        <p:txBody>
          <a:bodyPr wrap="square" lIns="0" tIns="0" rIns="0" bIns="0" numCol="1" anchor="t">
            <a:noAutofit/>
          </a:bodyPr>
          <a:lstStyle/>
          <a:p>
            <a:pPr marL="0" marR="0" lvl="0" indent="0" algn="l" defTabSz="18288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latin typeface="Interstate-BlackItalic"/>
                <a:ea typeface="Interstate-BlackItalic"/>
                <a:cs typeface="Interstate-BlackItalic"/>
                <a:sym typeface="Interstate-BlackItalic"/>
              </a:defRPr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Interstate-BlackItalic"/>
              </a:rPr>
              <a:t>Network </a:t>
            </a:r>
            <a:r>
              <a:rPr kumimoji="0" lang="it-IT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Interstate-BlackItalic"/>
              </a:rPr>
              <a:t>slicing</a:t>
            </a:r>
            <a:endParaRPr kumimoji="0" lang="it-IT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Interstate-BlackItalic"/>
            </a:endParaRPr>
          </a:p>
          <a:p>
            <a:pPr marL="0" marR="0" lvl="0" indent="0" algn="l" defTabSz="18288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latin typeface="Interstate-LightCompressed"/>
                <a:ea typeface="Interstate-LightCompressed"/>
                <a:cs typeface="Interstate-LightCompressed"/>
                <a:sym typeface="Interstate-LightCompressed"/>
              </a:defRPr>
            </a:pPr>
            <a:r>
              <a:rPr kumimoji="0" lang="it-IT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Interstate-LightCompressed"/>
                <a:cs typeface="Arial"/>
                <a:sym typeface="Interstate-LightCompressed"/>
              </a:rPr>
              <a:t>Servizi differenziati</a:t>
            </a:r>
          </a:p>
        </p:txBody>
      </p:sp>
      <p:sp>
        <p:nvSpPr>
          <p:cNvPr id="30" name="Linea"/>
          <p:cNvSpPr/>
          <p:nvPr/>
        </p:nvSpPr>
        <p:spPr>
          <a:xfrm>
            <a:off x="5410710" y="1775346"/>
            <a:ext cx="1951992" cy="224647"/>
          </a:xfrm>
          <a:custGeom>
            <a:avLst/>
            <a:gdLst>
              <a:gd name="connsiteX0" fmla="*/ 17633 w 17633"/>
              <a:gd name="connsiteY0" fmla="*/ 0 h 21732"/>
              <a:gd name="connsiteX1" fmla="*/ 0 w 17633"/>
              <a:gd name="connsiteY1" fmla="*/ 274 h 21732"/>
              <a:gd name="connsiteX2" fmla="*/ 5855 w 17633"/>
              <a:gd name="connsiteY2" fmla="*/ 21732 h 21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633" h="21732" extrusionOk="0">
                <a:moveTo>
                  <a:pt x="17633" y="0"/>
                </a:moveTo>
                <a:lnTo>
                  <a:pt x="0" y="274"/>
                </a:lnTo>
                <a:lnTo>
                  <a:pt x="5855" y="21732"/>
                </a:lnTo>
              </a:path>
            </a:pathLst>
          </a:custGeom>
          <a:noFill/>
          <a:ln w="25400" cap="flat">
            <a:solidFill>
              <a:schemeClr val="bg2"/>
            </a:solidFill>
            <a:prstDash val="solid"/>
            <a:miter lim="800000"/>
            <a:tailEnd type="oval" w="med" len="med"/>
          </a:ln>
          <a:effectLst/>
        </p:spPr>
        <p:txBody>
          <a:bodyPr wrap="square" lIns="121919" tIns="121919" rIns="121919" bIns="121919" numCol="1" anchor="t">
            <a:noAutofit/>
          </a:bodyPr>
          <a:lstStyle/>
          <a:p>
            <a:pPr marL="0" marR="0" lvl="0" indent="0" algn="l" defTabSz="18288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nterstate-BoldItalic" panose="02000803020000090004" pitchFamily="2" charset="0"/>
              <a:ea typeface="+mn-ea"/>
              <a:cs typeface="+mn-cs"/>
              <a:sym typeface="Calibri"/>
            </a:endParaRPr>
          </a:p>
        </p:txBody>
      </p:sp>
      <p:sp>
        <p:nvSpPr>
          <p:cNvPr id="31" name="Rettangolo 19"/>
          <p:cNvSpPr/>
          <p:nvPr/>
        </p:nvSpPr>
        <p:spPr>
          <a:xfrm>
            <a:off x="8458200" y="2031569"/>
            <a:ext cx="1605625" cy="4830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mv="urn:schemas-microsoft-com:mac:vml" xmlns:mc="http://schemas.openxmlformats.org/markup-compatibility/2006" val="1"/>
            </a:ext>
          </a:extLst>
        </p:spPr>
        <p:txBody>
          <a:bodyPr wrap="square" lIns="0" tIns="0" rIns="0" bIns="0" numCol="1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500">
                <a:latin typeface="Interstate-BlackItalic"/>
                <a:ea typeface="Interstate-BlackItalic"/>
                <a:cs typeface="Interstate-BlackItalic"/>
                <a:sym typeface="Interstate-BlackItalic"/>
              </a:defRPr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Interstate-BlackItalic"/>
                <a:cs typeface="Arial"/>
                <a:sym typeface="Interstate-BlackItalic"/>
              </a:rPr>
              <a:t>Latenz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500">
                <a:latin typeface="Interstate-LightCompressed"/>
                <a:ea typeface="Interstate-LightCompressed"/>
                <a:cs typeface="Interstate-LightCompressed"/>
                <a:sym typeface="Interstate-LightCompressed"/>
              </a:defRPr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Interstate-LightCompressed"/>
              </a:rPr>
              <a:t>&lt;= di un </a:t>
            </a:r>
            <a:r>
              <a:rPr kumimoji="0" lang="it-IT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Interstate-LightCompressed"/>
              </a:rPr>
              <a:t>ms</a:t>
            </a: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Interstate-LightCompressed"/>
            </a:endParaRPr>
          </a:p>
        </p:txBody>
      </p:sp>
      <p:sp>
        <p:nvSpPr>
          <p:cNvPr id="32" name="Rettangolo 15"/>
          <p:cNvSpPr txBox="1"/>
          <p:nvPr/>
        </p:nvSpPr>
        <p:spPr>
          <a:xfrm>
            <a:off x="8649952" y="3124200"/>
            <a:ext cx="2170448" cy="47722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mv="urn:schemas-microsoft-com:mac:vml" xmlns:mc="http://schemas.openxmlformats.org/markup-compatibility/2006" val="1"/>
            </a:ext>
          </a:extLst>
        </p:spPr>
        <p:txBody>
          <a:bodyPr wrap="square" lIns="0" tIns="0" rIns="0" bIns="0" numCol="1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500">
                <a:latin typeface="Interstate-BlackItalic"/>
                <a:ea typeface="Interstate-BlackItalic"/>
                <a:cs typeface="Interstate-BlackItalic"/>
                <a:sym typeface="Interstate-BlackItalic"/>
              </a:defRPr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Interstate-BlackItalic"/>
                <a:cs typeface="Arial"/>
                <a:sym typeface="Interstate-BlackItalic"/>
              </a:rPr>
              <a:t>Device per km</a:t>
            </a:r>
            <a:r>
              <a:rPr kumimoji="0" lang="it-IT" sz="20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Interstate-BlackItalic"/>
                <a:cs typeface="Arial"/>
                <a:sym typeface="Interstate-BlackItalic"/>
              </a:rPr>
              <a:t>2</a:t>
            </a: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Interstate-BlackItalic"/>
                <a:cs typeface="Arial"/>
                <a:sym typeface="Interstate-BlackItalic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500">
                <a:latin typeface="Interstate-LightCompressed"/>
                <a:ea typeface="Interstate-LightCompressed"/>
                <a:cs typeface="Interstate-LightCompressed"/>
                <a:sym typeface="Interstate-LightCompressed"/>
              </a:defRPr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Interstate-LightCompressed"/>
              </a:rPr>
              <a:t>Milioni</a:t>
            </a:r>
          </a:p>
        </p:txBody>
      </p:sp>
      <p:sp>
        <p:nvSpPr>
          <p:cNvPr id="33" name="Rettangolo 21"/>
          <p:cNvSpPr txBox="1"/>
          <p:nvPr/>
        </p:nvSpPr>
        <p:spPr>
          <a:xfrm>
            <a:off x="1736134" y="2819400"/>
            <a:ext cx="2559866" cy="594713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mv="urn:schemas-microsoft-com:mac:vml" xmlns:mc="http://schemas.openxmlformats.org/markup-compatibility/2006" val="1"/>
            </a:ext>
          </a:extLst>
        </p:spPr>
        <p:txBody>
          <a:bodyPr wrap="square" lIns="0" tIns="0" rIns="0" bIns="0" numCol="1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500">
                <a:latin typeface="Interstate-BlackItalic"/>
                <a:ea typeface="Interstate-BlackItalic"/>
                <a:cs typeface="Interstate-BlackItalic"/>
                <a:sym typeface="Interstate-BlackItalic"/>
              </a:defRPr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Interstate-BlackItalic"/>
                <a:cs typeface="Arial"/>
                <a:sym typeface="Interstate-BlackItalic"/>
              </a:rPr>
              <a:t>Frequenz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500">
                <a:latin typeface="Interstate-LightCompressed"/>
                <a:ea typeface="Interstate-LightCompressed"/>
                <a:cs typeface="Interstate-LightCompressed"/>
                <a:sym typeface="Interstate-LightCompressed"/>
              </a:defRPr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Interstate-LightCompressed"/>
              </a:rPr>
              <a:t>Ampio spettro</a:t>
            </a:r>
          </a:p>
        </p:txBody>
      </p:sp>
      <p:sp>
        <p:nvSpPr>
          <p:cNvPr id="34" name="Rettangolo 22"/>
          <p:cNvSpPr/>
          <p:nvPr/>
        </p:nvSpPr>
        <p:spPr>
          <a:xfrm>
            <a:off x="2753951" y="5334000"/>
            <a:ext cx="2569816" cy="60450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mv="urn:schemas-microsoft-com:mac:vml" xmlns:mc="http://schemas.openxmlformats.org/markup-compatibility/2006" val="1"/>
            </a:ext>
          </a:extLst>
        </p:spPr>
        <p:txBody>
          <a:bodyPr wrap="square" lIns="0" tIns="0" rIns="0" bIns="0" numCol="1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500">
                <a:latin typeface="Interstate-BlackItalic"/>
                <a:ea typeface="Interstate-BlackItalic"/>
                <a:cs typeface="Interstate-BlackItalic"/>
                <a:sym typeface="Interstate-BlackItalic"/>
              </a:defRPr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Interstate-BlackItalic"/>
                <a:cs typeface="Arial"/>
                <a:sym typeface="Interstate-BlackItalic"/>
              </a:rPr>
              <a:t>Qualità e sicurezz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500">
                <a:latin typeface="Interstate-LightCompressed"/>
                <a:ea typeface="Interstate-LightCompressed"/>
                <a:cs typeface="Interstate-LightCompressed"/>
                <a:sym typeface="Interstate-LightCompressed"/>
              </a:defRPr>
            </a:pP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Interstate-LightCompressed"/>
              </a:rPr>
              <a:t>Nativa in rete</a:t>
            </a:r>
          </a:p>
        </p:txBody>
      </p:sp>
      <p:sp>
        <p:nvSpPr>
          <p:cNvPr id="35" name="Rettangolo 16"/>
          <p:cNvSpPr txBox="1"/>
          <p:nvPr/>
        </p:nvSpPr>
        <p:spPr>
          <a:xfrm>
            <a:off x="8391904" y="4343400"/>
            <a:ext cx="1976703" cy="537387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mv="urn:schemas-microsoft-com:mac:vml" xmlns:mc="http://schemas.openxmlformats.org/markup-compatibility/2006" val="1"/>
            </a:ext>
          </a:extLst>
        </p:spPr>
        <p:txBody>
          <a:bodyPr wrap="square" lIns="0" tIns="0" rIns="0" bIns="0" numCol="1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500">
                <a:latin typeface="Interstate-BlackItalic"/>
                <a:ea typeface="Interstate-BlackItalic"/>
                <a:cs typeface="Interstate-BlackItalic"/>
                <a:sym typeface="Interstate-BlackItalic"/>
              </a:defRPr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Interstate-BlackItalic"/>
                <a:cs typeface="Arial"/>
                <a:sym typeface="Interstate-BlackItalic"/>
              </a:rPr>
              <a:t>Durata batteri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500">
                <a:latin typeface="Interstate-LightCompressed"/>
                <a:ea typeface="Interstate-LightCompressed"/>
                <a:cs typeface="Interstate-LightCompressed"/>
                <a:sym typeface="Interstate-LightCompressed"/>
              </a:defRPr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Interstate-LightCompressed"/>
                <a:cs typeface="Arial"/>
                <a:sym typeface="Interstate-LightCompressed"/>
              </a:rPr>
              <a:t>&gt;10 anni</a:t>
            </a:r>
          </a:p>
        </p:txBody>
      </p:sp>
      <p:sp>
        <p:nvSpPr>
          <p:cNvPr id="36" name="Rettangolo 18"/>
          <p:cNvSpPr txBox="1"/>
          <p:nvPr/>
        </p:nvSpPr>
        <p:spPr>
          <a:xfrm>
            <a:off x="7943484" y="5257800"/>
            <a:ext cx="2343516" cy="572076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mv="urn:schemas-microsoft-com:mac:vml" xmlns:mc="http://schemas.openxmlformats.org/markup-compatibility/2006" val="1"/>
            </a:ext>
          </a:extLst>
        </p:spPr>
        <p:txBody>
          <a:bodyPr wrap="square" lIns="0" tIns="0" rIns="0" bIns="0" numCol="1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500">
                <a:latin typeface="Interstate-BlackItalic"/>
                <a:ea typeface="Interstate-BlackItalic"/>
                <a:cs typeface="Interstate-BlackItalic"/>
                <a:sym typeface="Interstate-BlackItalic"/>
              </a:defRPr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Interstate-BlackItalic"/>
                <a:cs typeface="Arial"/>
                <a:sym typeface="Interstate-BlackItalic"/>
              </a:rPr>
              <a:t>Cel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500">
                <a:latin typeface="Interstate-LightCompressed"/>
                <a:ea typeface="Interstate-LightCompressed"/>
                <a:cs typeface="Interstate-LightCompressed"/>
                <a:sym typeface="Interstate-LightCompressed"/>
              </a:defRPr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Interstate-LightCompressed"/>
              </a:rPr>
              <a:t>Migliaia Small </a:t>
            </a:r>
            <a:r>
              <a:rPr kumimoji="0" lang="it-IT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Interstate-LightCompressed"/>
              </a:rPr>
              <a:t>Cells</a:t>
            </a: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Interstate-LightCompressed"/>
            </a:endParaRPr>
          </a:p>
        </p:txBody>
      </p:sp>
      <p:sp>
        <p:nvSpPr>
          <p:cNvPr id="37" name="Rettangolo 23"/>
          <p:cNvSpPr txBox="1"/>
          <p:nvPr/>
        </p:nvSpPr>
        <p:spPr>
          <a:xfrm>
            <a:off x="1776000" y="4385531"/>
            <a:ext cx="2520000" cy="615949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mv="urn:schemas-microsoft-com:mac:vml" xmlns:mc="http://schemas.openxmlformats.org/markup-compatibility/2006" val="1"/>
            </a:ext>
          </a:extLst>
        </p:spPr>
        <p:txBody>
          <a:bodyPr wrap="square" lIns="0" tIns="0" rIns="0" bIns="0" numCol="1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500">
                <a:latin typeface="Interstate-BlackItalic"/>
                <a:ea typeface="Interstate-BlackItalic"/>
                <a:cs typeface="Interstate-BlackItalic"/>
                <a:sym typeface="Interstate-BlackItalic"/>
              </a:defRPr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Interstate-BlackItalic"/>
                <a:cs typeface="Arial"/>
                <a:sym typeface="Interstate-BlackItalic"/>
              </a:rPr>
              <a:t>Efficienza spettra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500">
                <a:latin typeface="Interstate-LightCompressed"/>
                <a:ea typeface="Interstate-LightCompressed"/>
                <a:cs typeface="Interstate-LightCompressed"/>
                <a:sym typeface="Interstate-LightCompressed"/>
              </a:defRPr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Interstate-LightCompressed"/>
              </a:rPr>
              <a:t>7x 4G</a:t>
            </a:r>
          </a:p>
        </p:txBody>
      </p:sp>
      <p:sp>
        <p:nvSpPr>
          <p:cNvPr id="38" name="Linea"/>
          <p:cNvSpPr/>
          <p:nvPr/>
        </p:nvSpPr>
        <p:spPr>
          <a:xfrm>
            <a:off x="2743200" y="5638800"/>
            <a:ext cx="2636400" cy="3048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296"/>
                </a:moveTo>
                <a:lnTo>
                  <a:pt x="16843" y="21600"/>
                </a:lnTo>
                <a:lnTo>
                  <a:pt x="21600" y="0"/>
                </a:lnTo>
              </a:path>
            </a:pathLst>
          </a:custGeom>
          <a:noFill/>
          <a:ln w="25400" cap="flat">
            <a:solidFill>
              <a:schemeClr val="accent4"/>
            </a:solidFill>
            <a:prstDash val="solid"/>
            <a:miter lim="800000"/>
            <a:tailEnd type="oval" w="med" len="med"/>
          </a:ln>
          <a:effectLst/>
        </p:spPr>
        <p:txBody>
          <a:bodyPr wrap="square" lIns="121919" tIns="121919" rIns="121919" bIns="121919" numCol="1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terstate-BoldItalic" panose="02000803020000090004" pitchFamily="2" charset="0"/>
              <a:ea typeface="+mn-ea"/>
              <a:cs typeface="+mn-cs"/>
            </a:endParaRPr>
          </a:p>
        </p:txBody>
      </p:sp>
      <p:sp>
        <p:nvSpPr>
          <p:cNvPr id="39" name="Rettangolo 20"/>
          <p:cNvSpPr txBox="1"/>
          <p:nvPr/>
        </p:nvSpPr>
        <p:spPr>
          <a:xfrm>
            <a:off x="2186920" y="1752600"/>
            <a:ext cx="2898036" cy="625989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mv="urn:schemas-microsoft-com:mac:vml" xmlns:mc="http://schemas.openxmlformats.org/markup-compatibility/2006" val="1"/>
            </a:ext>
          </a:extLst>
        </p:spPr>
        <p:txBody>
          <a:bodyPr wrap="square" lIns="0" tIns="0" rIns="0" bIns="0" numCol="1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500">
                <a:latin typeface="Interstate-LightCompressed"/>
                <a:ea typeface="Interstate-LightCompressed"/>
                <a:cs typeface="Interstate-LightCompressed"/>
                <a:sym typeface="Interstate-LightCompressed"/>
              </a:defRPr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Interstate-BlackItalic"/>
                <a:cs typeface="Arial"/>
                <a:sym typeface="Interstate-BlackItalic"/>
              </a:rPr>
              <a:t>Multimedia e velocità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Interstate-BlackItalic"/>
                <a:cs typeface="Arial"/>
                <a:sym typeface="Interstate-BlackItalic"/>
              </a:rPr>
              <a:t/>
            </a:r>
            <a:b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Interstate-BlackItalic"/>
                <a:cs typeface="Arial"/>
                <a:sym typeface="Interstate-BlackItalic"/>
              </a:rPr>
            </a:b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Interstate-LightCompressed"/>
              </a:rPr>
              <a:t>Fino a 20Gbps</a:t>
            </a:r>
          </a:p>
        </p:txBody>
      </p:sp>
      <p:sp>
        <p:nvSpPr>
          <p:cNvPr id="40" name="Linea"/>
          <p:cNvSpPr/>
          <p:nvPr/>
        </p:nvSpPr>
        <p:spPr>
          <a:xfrm>
            <a:off x="1752600" y="4727358"/>
            <a:ext cx="2659538" cy="30184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296"/>
                </a:moveTo>
                <a:lnTo>
                  <a:pt x="16843" y="21600"/>
                </a:lnTo>
                <a:lnTo>
                  <a:pt x="21600" y="0"/>
                </a:lnTo>
              </a:path>
            </a:pathLst>
          </a:custGeom>
          <a:noFill/>
          <a:ln w="25400" cap="flat">
            <a:solidFill>
              <a:schemeClr val="accent4"/>
            </a:solidFill>
            <a:prstDash val="solid"/>
            <a:miter lim="800000"/>
            <a:tailEnd type="oval" w="med" len="med"/>
          </a:ln>
          <a:effectLst/>
        </p:spPr>
        <p:txBody>
          <a:bodyPr wrap="square" lIns="121919" tIns="121919" rIns="121919" bIns="121919" numCol="1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terstate-BoldItalic" panose="02000803020000090004" pitchFamily="2" charset="0"/>
              <a:ea typeface="+mn-ea"/>
              <a:cs typeface="+mn-cs"/>
            </a:endParaRPr>
          </a:p>
        </p:txBody>
      </p:sp>
      <p:sp>
        <p:nvSpPr>
          <p:cNvPr id="41" name="Linea"/>
          <p:cNvSpPr/>
          <p:nvPr/>
        </p:nvSpPr>
        <p:spPr>
          <a:xfrm flipV="1">
            <a:off x="1714698" y="3443716"/>
            <a:ext cx="2484000" cy="2137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296"/>
                </a:moveTo>
                <a:lnTo>
                  <a:pt x="16843" y="21600"/>
                </a:lnTo>
                <a:lnTo>
                  <a:pt x="21600" y="0"/>
                </a:lnTo>
              </a:path>
            </a:pathLst>
          </a:custGeom>
          <a:noFill/>
          <a:ln w="25400" cap="flat">
            <a:solidFill>
              <a:srgbClr val="FFC000"/>
            </a:solidFill>
            <a:prstDash val="solid"/>
            <a:miter lim="800000"/>
            <a:tailEnd type="oval" w="med" len="med"/>
          </a:ln>
          <a:effectLst/>
        </p:spPr>
        <p:txBody>
          <a:bodyPr wrap="square" lIns="121919" tIns="121919" rIns="121919" bIns="121919" numCol="1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terstate-BoldItalic" panose="02000803020000090004" pitchFamily="2" charset="0"/>
              <a:ea typeface="+mn-ea"/>
              <a:cs typeface="+mn-cs"/>
            </a:endParaRPr>
          </a:p>
        </p:txBody>
      </p:sp>
      <p:sp>
        <p:nvSpPr>
          <p:cNvPr id="42" name="Linea"/>
          <p:cNvSpPr/>
          <p:nvPr/>
        </p:nvSpPr>
        <p:spPr>
          <a:xfrm flipV="1">
            <a:off x="2186283" y="2390191"/>
            <a:ext cx="2484000" cy="2137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296"/>
                </a:moveTo>
                <a:lnTo>
                  <a:pt x="16843" y="21600"/>
                </a:lnTo>
                <a:lnTo>
                  <a:pt x="21600" y="0"/>
                </a:lnTo>
              </a:path>
            </a:pathLst>
          </a:custGeom>
          <a:noFill/>
          <a:ln w="25400" cap="flat">
            <a:solidFill>
              <a:srgbClr val="FFC000"/>
            </a:solidFill>
            <a:prstDash val="solid"/>
            <a:miter lim="800000"/>
            <a:tailEnd type="oval" w="med" len="med"/>
          </a:ln>
          <a:effectLst/>
        </p:spPr>
        <p:txBody>
          <a:bodyPr wrap="square" lIns="121919" tIns="121919" rIns="121919" bIns="121919" numCol="1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terstate-BoldItalic" panose="02000803020000090004" pitchFamily="2" charset="0"/>
              <a:ea typeface="+mn-ea"/>
              <a:cs typeface="+mn-cs"/>
            </a:endParaRPr>
          </a:p>
        </p:txBody>
      </p:sp>
      <p:sp>
        <p:nvSpPr>
          <p:cNvPr id="43" name="Linea"/>
          <p:cNvSpPr/>
          <p:nvPr/>
        </p:nvSpPr>
        <p:spPr>
          <a:xfrm rot="10800000">
            <a:off x="8107800" y="3682689"/>
            <a:ext cx="2255400" cy="1910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296"/>
                </a:moveTo>
                <a:lnTo>
                  <a:pt x="16843" y="21600"/>
                </a:lnTo>
                <a:lnTo>
                  <a:pt x="21600" y="0"/>
                </a:lnTo>
              </a:path>
            </a:pathLst>
          </a:custGeom>
          <a:noFill/>
          <a:ln w="25400" cap="flat">
            <a:solidFill>
              <a:schemeClr val="bg2"/>
            </a:solidFill>
            <a:prstDash val="solid"/>
            <a:miter lim="800000"/>
            <a:tailEnd type="oval" w="med" len="med"/>
          </a:ln>
          <a:effectLst/>
        </p:spPr>
        <p:txBody>
          <a:bodyPr wrap="square" lIns="121919" tIns="121919" rIns="121919" bIns="121919" numCol="1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terstate-BoldItalic" panose="02000803020000090004" pitchFamily="2" charset="0"/>
              <a:ea typeface="+mn-ea"/>
              <a:cs typeface="+mn-cs"/>
            </a:endParaRPr>
          </a:p>
        </p:txBody>
      </p:sp>
      <p:sp>
        <p:nvSpPr>
          <p:cNvPr id="44" name="Linea"/>
          <p:cNvSpPr/>
          <p:nvPr/>
        </p:nvSpPr>
        <p:spPr>
          <a:xfrm rot="10800000">
            <a:off x="7772400" y="2590800"/>
            <a:ext cx="1752600" cy="3048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296"/>
                </a:moveTo>
                <a:lnTo>
                  <a:pt x="16843" y="21600"/>
                </a:lnTo>
                <a:lnTo>
                  <a:pt x="21600" y="0"/>
                </a:lnTo>
              </a:path>
            </a:pathLst>
          </a:custGeom>
          <a:noFill/>
          <a:ln w="25400" cap="flat">
            <a:solidFill>
              <a:schemeClr val="bg2"/>
            </a:solidFill>
            <a:prstDash val="solid"/>
            <a:miter lim="800000"/>
            <a:tailEnd type="oval" w="med" len="med"/>
          </a:ln>
          <a:effectLst/>
        </p:spPr>
        <p:txBody>
          <a:bodyPr wrap="square" lIns="121919" tIns="121919" rIns="121919" bIns="121919" numCol="1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terstate-BoldItalic" panose="02000803020000090004" pitchFamily="2" charset="0"/>
              <a:ea typeface="+mn-ea"/>
              <a:cs typeface="+mn-cs"/>
            </a:endParaRPr>
          </a:p>
        </p:txBody>
      </p:sp>
      <p:sp>
        <p:nvSpPr>
          <p:cNvPr id="45" name="Linea"/>
          <p:cNvSpPr/>
          <p:nvPr/>
        </p:nvSpPr>
        <p:spPr>
          <a:xfrm rot="10800000" flipV="1">
            <a:off x="7826243" y="4734054"/>
            <a:ext cx="2484000" cy="2137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296"/>
                </a:moveTo>
                <a:lnTo>
                  <a:pt x="16843" y="21600"/>
                </a:lnTo>
                <a:lnTo>
                  <a:pt x="21600" y="0"/>
                </a:lnTo>
              </a:path>
            </a:pathLst>
          </a:custGeom>
          <a:noFill/>
          <a:ln w="25400" cap="flat">
            <a:solidFill>
              <a:srgbClr val="D9D9D9"/>
            </a:solidFill>
            <a:prstDash val="solid"/>
            <a:miter lim="800000"/>
            <a:tailEnd type="oval" w="med" len="med"/>
          </a:ln>
          <a:effectLst/>
        </p:spPr>
        <p:txBody>
          <a:bodyPr wrap="square" lIns="121919" tIns="121919" rIns="121919" bIns="121919" numCol="1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terstate-BoldItalic" panose="02000803020000090004" pitchFamily="2" charset="0"/>
              <a:ea typeface="+mn-ea"/>
              <a:cs typeface="+mn-cs"/>
            </a:endParaRPr>
          </a:p>
        </p:txBody>
      </p:sp>
      <p:sp>
        <p:nvSpPr>
          <p:cNvPr id="46" name="Linea"/>
          <p:cNvSpPr/>
          <p:nvPr/>
        </p:nvSpPr>
        <p:spPr>
          <a:xfrm rot="10800000" flipV="1">
            <a:off x="7239000" y="5638800"/>
            <a:ext cx="2484000" cy="2137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296"/>
                </a:moveTo>
                <a:lnTo>
                  <a:pt x="16843" y="21600"/>
                </a:lnTo>
                <a:lnTo>
                  <a:pt x="21600" y="0"/>
                </a:lnTo>
              </a:path>
            </a:pathLst>
          </a:custGeom>
          <a:noFill/>
          <a:ln w="25400" cap="flat">
            <a:solidFill>
              <a:srgbClr val="D9D9D9"/>
            </a:solidFill>
            <a:prstDash val="solid"/>
            <a:miter lim="800000"/>
            <a:tailEnd type="oval" w="med" len="med"/>
          </a:ln>
          <a:effectLst/>
        </p:spPr>
        <p:txBody>
          <a:bodyPr wrap="square" lIns="121919" tIns="121919" rIns="121919" bIns="121919" numCol="1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Interstate-BoldItalic" panose="02000803020000090004" pitchFamily="2" charset="0"/>
              <a:ea typeface="+mn-ea"/>
              <a:cs typeface="+mn-cs"/>
            </a:endParaRPr>
          </a:p>
        </p:txBody>
      </p:sp>
      <p:sp>
        <p:nvSpPr>
          <p:cNvPr id="55" name="Title 1"/>
          <p:cNvSpPr txBox="1">
            <a:spLocks/>
          </p:cNvSpPr>
          <p:nvPr/>
        </p:nvSpPr>
        <p:spPr>
          <a:xfrm>
            <a:off x="1174200" y="1"/>
            <a:ext cx="110178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3200" b="1" i="0" u="none" strike="noStrike" kern="1000" cap="none" spc="-1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pic>
        <p:nvPicPr>
          <p:cNvPr id="51" name="Immagine 50" descr="Logo Fastweb Giallo su fondo Ner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31596" y="338458"/>
            <a:ext cx="879404" cy="728342"/>
          </a:xfrm>
          <a:prstGeom prst="rect">
            <a:avLst/>
          </a:prstGeom>
        </p:spPr>
      </p:pic>
      <p:pic>
        <p:nvPicPr>
          <p:cNvPr id="52" name="Immagine 51" descr="logo - ROMA5G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00" y="117231"/>
            <a:ext cx="1333500" cy="615461"/>
          </a:xfrm>
          <a:prstGeom prst="rect">
            <a:avLst/>
          </a:prstGeom>
        </p:spPr>
      </p:pic>
      <p:pic>
        <p:nvPicPr>
          <p:cNvPr id="53" name="Immagine 52" descr="Senza titolo-5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3400" y="2057400"/>
            <a:ext cx="3657600" cy="3644900"/>
          </a:xfrm>
          <a:prstGeom prst="rect">
            <a:avLst/>
          </a:prstGeom>
        </p:spPr>
      </p:pic>
      <p:pic>
        <p:nvPicPr>
          <p:cNvPr id="56" name="Immagine 55" descr="logo - ROMA5GN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3000" y="3276600"/>
            <a:ext cx="2432050" cy="1122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698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magine 17" descr="fb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52400"/>
            <a:ext cx="12192000" cy="6324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208" y="76200"/>
            <a:ext cx="11353800" cy="1263875"/>
          </a:xfrm>
        </p:spPr>
        <p:txBody>
          <a:bodyPr>
            <a:noAutofit/>
          </a:bodyPr>
          <a:lstStyle/>
          <a:p>
            <a:r>
              <a:rPr lang="it-IT" sz="3200" b="1" spc="-120" dirty="0">
                <a:solidFill>
                  <a:srgbClr val="FFC000"/>
                </a:solidFill>
                <a:latin typeface="Arial"/>
                <a:cs typeface="Arial"/>
              </a:rPr>
              <a:t>L’ARCHITETTURA DI RETE SARÀ BASATA SU ASSET SPECIFICI CREANDO UN IBRIDO FISSO/MOBIL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26706" y="2471009"/>
            <a:ext cx="39662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Interstate-BlackItalic"/>
                <a:cs typeface="Arial"/>
              </a:rPr>
              <a:t>Infrastruttura in fibra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127412" y="2471009"/>
            <a:ext cx="39662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Interstate-BlackItalic"/>
                <a:cs typeface="Arial"/>
              </a:rPr>
              <a:t>Cabinets</a:t>
            </a:r>
            <a:endParaRPr kumimoji="0" lang="it-IT" sz="2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Interstate-BlackItalic"/>
              <a:cs typeface="Arial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013612" y="2471009"/>
            <a:ext cx="39662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69850" dir="2700000" algn="tl" rotWithShape="0">
                    <a:srgbClr val="000000">
                      <a:alpha val="61000"/>
                    </a:srgbClr>
                  </a:outerShdw>
                </a:effectLst>
                <a:uLnTx/>
                <a:uFillTx/>
                <a:latin typeface="Arial"/>
                <a:ea typeface="Interstate-BlackItalic"/>
                <a:cs typeface="Arial"/>
              </a:rPr>
              <a:t>Frequenz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26706" y="2866285"/>
            <a:ext cx="39662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er la raccolta e il trasport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i un volume enorme di dati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458228" y="2866285"/>
            <a:ext cx="33045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dirty="0" err="1">
                <a:solidFill>
                  <a:schemeClr val="bg1"/>
                </a:solidFill>
                <a:latin typeface="Arial"/>
                <a:cs typeface="Arial"/>
              </a:rPr>
              <a:t>P</a:t>
            </a:r>
            <a:r>
              <a:rPr kumimoji="0" lang="it-IT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r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collegare in fibr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 alimentare le small </a:t>
            </a:r>
            <a:r>
              <a:rPr kumimoji="0" lang="it-IT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ells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5G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013612" y="2866285"/>
            <a:ext cx="39662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b="1" dirty="0" err="1">
                <a:solidFill>
                  <a:schemeClr val="bg1"/>
                </a:solidFill>
                <a:effectLst>
                  <a:outerShdw blurRad="69850" dir="2700000" algn="tl" rotWithShape="0">
                    <a:srgbClr val="000000">
                      <a:alpha val="61000"/>
                    </a:srgbClr>
                  </a:outerShdw>
                </a:effectLst>
                <a:latin typeface="Arial"/>
                <a:cs typeface="Arial"/>
              </a:rPr>
              <a:t>P</a:t>
            </a:r>
            <a:r>
              <a: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>
                  <a:outerShdw blurRad="69850" dir="2700000" algn="tl" rotWithShape="0">
                    <a:srgbClr val="000000">
                      <a:alpha val="61000"/>
                    </a:srgbClr>
                  </a:outerShdw>
                </a:effectLst>
                <a:uLnTx/>
                <a:uFillTx/>
                <a:latin typeface="Arial"/>
                <a:ea typeface="+mn-ea"/>
                <a:cs typeface="Arial"/>
              </a:rPr>
              <a:t>er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69850" dir="2700000" algn="tl" rotWithShape="0">
                    <a:srgbClr val="000000">
                      <a:alpha val="61000"/>
                    </a:srgbClr>
                  </a:outerShdw>
                </a:effectLst>
                <a:uLnTx/>
                <a:uFillTx/>
                <a:latin typeface="Arial"/>
                <a:ea typeface="+mn-ea"/>
                <a:cs typeface="Arial"/>
              </a:rPr>
              <a:t> garantire un </a:t>
            </a:r>
            <a:r>
              <a: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>
                  <a:outerShdw blurRad="69850" dir="2700000" algn="tl" rotWithShape="0">
                    <a:srgbClr val="000000">
                      <a:alpha val="61000"/>
                    </a:srgbClr>
                  </a:outerShdw>
                </a:effectLst>
                <a:uLnTx/>
                <a:uFillTx/>
                <a:latin typeface="Arial"/>
                <a:ea typeface="+mn-ea"/>
                <a:cs typeface="Arial"/>
              </a:rPr>
              <a:t>capacity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69850" dir="2700000" algn="tl" rotWithShape="0">
                    <a:srgbClr val="000000">
                      <a:alpha val="61000"/>
                    </a:srgbClr>
                  </a:outerShdw>
                </a:effectLst>
                <a:uLnTx/>
                <a:uFillTx/>
                <a:latin typeface="Arial"/>
                <a:ea typeface="+mn-ea"/>
                <a:cs typeface="Arial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69850" dir="2700000" algn="tl" rotWithShape="0">
                    <a:srgbClr val="000000">
                      <a:alpha val="61000"/>
                    </a:srgbClr>
                  </a:outerShdw>
                </a:effectLst>
                <a:uLnTx/>
                <a:uFillTx/>
                <a:latin typeface="Arial"/>
                <a:ea typeface="+mn-ea"/>
                <a:cs typeface="Arial"/>
              </a:rPr>
              <a:t>adeguata in copertura mobile</a:t>
            </a:r>
          </a:p>
        </p:txBody>
      </p:sp>
      <p:pic>
        <p:nvPicPr>
          <p:cNvPr id="21" name="Immagine 20" descr="Logo Fastweb Giallo su fondo Ner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31596" y="338458"/>
            <a:ext cx="879404" cy="728342"/>
          </a:xfrm>
          <a:prstGeom prst="rect">
            <a:avLst/>
          </a:prstGeom>
        </p:spPr>
      </p:pic>
      <p:pic>
        <p:nvPicPr>
          <p:cNvPr id="23" name="Immagine 22" descr="icn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1500" y="1511300"/>
            <a:ext cx="8750300" cy="1079500"/>
          </a:xfrm>
          <a:prstGeom prst="rect">
            <a:avLst/>
          </a:prstGeom>
        </p:spPr>
      </p:pic>
      <p:pic>
        <p:nvPicPr>
          <p:cNvPr id="4" name="Immagine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9180" y="3185934"/>
            <a:ext cx="5634442" cy="3123066"/>
          </a:xfrm>
          <a:prstGeom prst="rect">
            <a:avLst/>
          </a:prstGeom>
        </p:spPr>
      </p:pic>
      <p:pic>
        <p:nvPicPr>
          <p:cNvPr id="26" name="Immagine 25" descr="logo - ROMA5GN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3845" y="4370536"/>
            <a:ext cx="1080000" cy="498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9486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Immagine 39" descr="fb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52400"/>
            <a:ext cx="12192000" cy="6324600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4724400" y="1120914"/>
            <a:ext cx="58239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Interstate-BlackItalic"/>
                <a:cs typeface="Arial"/>
              </a:rPr>
              <a:t>Una presenza ‘storica’ e un’infrastruttura capillare e all’</a:t>
            </a:r>
            <a:r>
              <a:rPr kumimoji="0" lang="it-IT" sz="20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Interstate-BlackItalic"/>
                <a:cs typeface="Arial"/>
              </a:rPr>
              <a:t>avanguardia…</a:t>
            </a:r>
            <a:endParaRPr kumimoji="0" lang="it-IT" sz="2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Interstate-BlackItalic"/>
              <a:cs typeface="Arial"/>
            </a:endParaRPr>
          </a:p>
        </p:txBody>
      </p:sp>
      <p:pic>
        <p:nvPicPr>
          <p:cNvPr id="19" name="Picture 18"/>
          <p:cNvPicPr preferRelativeResize="0"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20597" y="1200080"/>
            <a:ext cx="2772853" cy="1663712"/>
          </a:xfrm>
          <a:prstGeom prst="rect">
            <a:avLst/>
          </a:prstGeom>
          <a:ln w="0">
            <a:noFill/>
          </a:ln>
        </p:spPr>
      </p:pic>
      <p:sp>
        <p:nvSpPr>
          <p:cNvPr id="20" name="TextBox 19"/>
          <p:cNvSpPr txBox="1"/>
          <p:nvPr/>
        </p:nvSpPr>
        <p:spPr>
          <a:xfrm>
            <a:off x="-401916" y="2133600"/>
            <a:ext cx="32213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Interstate-BlackItalic"/>
                <a:cs typeface="Arial"/>
              </a:rPr>
              <a:t>1999 </a:t>
            </a:r>
            <a:r>
              <a:rPr kumimoji="0" lang="it-IT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Interstate-BlackItalic"/>
                <a:cs typeface="Arial"/>
              </a:rPr>
              <a:t>–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Interstate-BlackItalic"/>
                <a:cs typeface="Arial"/>
              </a:rPr>
              <a:t> 2011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675564" y="2051064"/>
            <a:ext cx="289956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TTH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6087351" y="1905000"/>
            <a:ext cx="4789008" cy="876902"/>
            <a:chOff x="3325097" y="2170652"/>
            <a:chExt cx="4789008" cy="876902"/>
          </a:xfrm>
        </p:grpSpPr>
        <p:sp>
          <p:nvSpPr>
            <p:cNvPr id="22" name="TextBox 21"/>
            <p:cNvSpPr txBox="1"/>
            <p:nvPr/>
          </p:nvSpPr>
          <p:spPr>
            <a:xfrm>
              <a:off x="3325097" y="2709000"/>
              <a:ext cx="478900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>
                <a:defRPr sz="1600">
                  <a:solidFill>
                    <a:schemeClr val="bg2">
                      <a:lumMod val="50000"/>
                    </a:schemeClr>
                  </a:solidFill>
                  <a:latin typeface="Interstate-Light" panose="02000606030000020004" pitchFamily="2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300.000 famiglie e aziende coperte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3325097" y="2439826"/>
              <a:ext cx="478900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>
                <a:defRPr sz="1600">
                  <a:solidFill>
                    <a:schemeClr val="bg2">
                      <a:lumMod val="50000"/>
                    </a:schemeClr>
                  </a:solidFill>
                  <a:latin typeface="Interstate-Light" panose="02000606030000020004" pitchFamily="2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2.020 km di infrastruttura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3325097" y="2170652"/>
              <a:ext cx="478900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 algn="ctr">
                <a:defRPr sz="2000">
                  <a:solidFill>
                    <a:srgbClr val="454545"/>
                  </a:solidFill>
                  <a:latin typeface="Interstate-Black" panose="02000603040000020004" pitchFamily="2" charset="0"/>
                  <a:ea typeface="Interstate-BlackItalic"/>
                  <a:cs typeface="Interstate-BlackItalic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140 milioni investiti</a:t>
              </a:r>
            </a:p>
          </p:txBody>
        </p:sp>
      </p:grpSp>
      <p:sp>
        <p:nvSpPr>
          <p:cNvPr id="25" name="TextBox 24"/>
          <p:cNvSpPr txBox="1"/>
          <p:nvPr/>
        </p:nvSpPr>
        <p:spPr>
          <a:xfrm>
            <a:off x="-401916" y="3609201"/>
            <a:ext cx="32213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 sz="1200">
                <a:solidFill>
                  <a:srgbClr val="454545"/>
                </a:solidFill>
                <a:latin typeface="Interstate-Black" panose="02000603040000020004" pitchFamily="2" charset="0"/>
                <a:ea typeface="Interstate-BlackItalic"/>
                <a:cs typeface="Interstate-BlackItalic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2012 - 2016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4667200" y="3498864"/>
            <a:ext cx="289956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TTC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6087351" y="3352800"/>
            <a:ext cx="4789008" cy="876902"/>
            <a:chOff x="3268986" y="4352098"/>
            <a:chExt cx="4789008" cy="876902"/>
          </a:xfrm>
        </p:grpSpPr>
        <p:sp>
          <p:nvSpPr>
            <p:cNvPr id="27" name="TextBox 26"/>
            <p:cNvSpPr txBox="1"/>
            <p:nvPr/>
          </p:nvSpPr>
          <p:spPr>
            <a:xfrm>
              <a:off x="3268986" y="4890446"/>
              <a:ext cx="478900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>
                <a:defRPr sz="1600">
                  <a:solidFill>
                    <a:schemeClr val="bg2">
                      <a:lumMod val="50000"/>
                    </a:schemeClr>
                  </a:solidFill>
                  <a:latin typeface="Interstate-Light" panose="02000606030000020004" pitchFamily="2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1.000.000 famiglie e aziende coperte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3268987" y="4621272"/>
              <a:ext cx="390701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>
                <a:defRPr sz="1600">
                  <a:solidFill>
                    <a:schemeClr val="bg2">
                      <a:lumMod val="50000"/>
                    </a:schemeClr>
                  </a:solidFill>
                  <a:latin typeface="Interstate-Light" panose="02000606030000020004" pitchFamily="2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4.600 cabinet (20% del totale Italia)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3268986" y="4352098"/>
              <a:ext cx="478900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>
                <a:defRPr sz="1600">
                  <a:solidFill>
                    <a:schemeClr val="bg2">
                      <a:lumMod val="50000"/>
                    </a:schemeClr>
                  </a:solidFill>
                  <a:latin typeface="Interstate-Light" panose="02000606030000020004" pitchFamily="2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80 milioni investiti</a:t>
              </a:r>
            </a:p>
          </p:txBody>
        </p:sp>
      </p:grpSp>
      <p:pic>
        <p:nvPicPr>
          <p:cNvPr id="30" name="Picture 29"/>
          <p:cNvPicPr preferRelativeResize="0">
            <a:picLocks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46"/>
          <a:stretch/>
        </p:blipFill>
        <p:spPr>
          <a:xfrm>
            <a:off x="1828801" y="2859243"/>
            <a:ext cx="2764650" cy="1636557"/>
          </a:xfrm>
          <a:prstGeom prst="rect">
            <a:avLst/>
          </a:prstGeom>
        </p:spPr>
      </p:pic>
      <p:pic>
        <p:nvPicPr>
          <p:cNvPr id="31" name="Picture 30"/>
          <p:cNvPicPr preferRelativeResize="0"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28800" y="4495800"/>
            <a:ext cx="2772853" cy="1663712"/>
          </a:xfrm>
          <a:prstGeom prst="rect">
            <a:avLst/>
          </a:prstGeom>
        </p:spPr>
      </p:pic>
      <p:sp>
        <p:nvSpPr>
          <p:cNvPr id="32" name="TextBox 31"/>
          <p:cNvSpPr txBox="1"/>
          <p:nvPr/>
        </p:nvSpPr>
        <p:spPr>
          <a:xfrm>
            <a:off x="-401916" y="5285601"/>
            <a:ext cx="32213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 sz="1200">
                <a:solidFill>
                  <a:srgbClr val="454545"/>
                </a:solidFill>
                <a:latin typeface="Interstate-Black" panose="02000603040000020004" pitchFamily="2" charset="0"/>
                <a:ea typeface="Interstate-BlackItalic"/>
                <a:cs typeface="Interstate-BlackItalic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2016 - 2020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4648200" y="5105400"/>
            <a:ext cx="289956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3200">
                <a:solidFill>
                  <a:srgbClr val="454545"/>
                </a:solidFill>
                <a:latin typeface="Interstate-Bold" panose="02000803030000020004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nterstate-Bold" panose="02000803030000020004" pitchFamily="2" charset="0"/>
                <a:ea typeface="+mj-ea"/>
                <a:cs typeface="+mj-cs"/>
              </a:rPr>
              <a:t>1 Giga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6096000" y="4959336"/>
            <a:ext cx="4789008" cy="876902"/>
            <a:chOff x="3168227" y="5194759"/>
            <a:chExt cx="4789008" cy="876902"/>
          </a:xfrm>
        </p:grpSpPr>
        <p:sp>
          <p:nvSpPr>
            <p:cNvPr id="34" name="TextBox 33"/>
            <p:cNvSpPr txBox="1"/>
            <p:nvPr/>
          </p:nvSpPr>
          <p:spPr>
            <a:xfrm>
              <a:off x="3168227" y="5733107"/>
              <a:ext cx="478900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>
                <a:defRPr sz="1600">
                  <a:solidFill>
                    <a:schemeClr val="bg2">
                      <a:lumMod val="50000"/>
                    </a:schemeClr>
                  </a:solidFill>
                  <a:latin typeface="Interstate-Light" panose="02000606030000020004" pitchFamily="2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1.000.000 famiglie e aziende coperte</a:t>
              </a:r>
              <a:endParaRPr kumimoji="0" lang="it-IT" sz="16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3168227" y="5463933"/>
              <a:ext cx="364777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>
                <a:defRPr sz="1600">
                  <a:solidFill>
                    <a:schemeClr val="bg2">
                      <a:lumMod val="50000"/>
                    </a:schemeClr>
                  </a:solidFill>
                  <a:latin typeface="Interstate-Light" panose="02000606030000020004" pitchFamily="2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+800 km di infrastruttura</a:t>
              </a:r>
              <a:endParaRPr kumimoji="0" lang="it-IT" sz="16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3168227" y="5194759"/>
              <a:ext cx="478900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>
                <a:defRPr sz="1600">
                  <a:solidFill>
                    <a:schemeClr val="bg2">
                      <a:lumMod val="50000"/>
                    </a:schemeClr>
                  </a:solidFill>
                  <a:latin typeface="Interstate-Light" panose="02000606030000020004" pitchFamily="2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180 milioni investiti</a:t>
              </a:r>
              <a:r>
                <a:rPr kumimoji="0" lang="it-IT" sz="16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1</a:t>
              </a:r>
            </a:p>
          </p:txBody>
        </p:sp>
      </p:grpSp>
      <p:sp>
        <p:nvSpPr>
          <p:cNvPr id="37" name="TextBox 36"/>
          <p:cNvSpPr txBox="1"/>
          <p:nvPr/>
        </p:nvSpPr>
        <p:spPr>
          <a:xfrm>
            <a:off x="5410200" y="5791200"/>
            <a:ext cx="64008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30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alizzazione di </a:t>
            </a:r>
            <a:r>
              <a:rPr kumimoji="0" lang="it-IT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lashFiber</a:t>
            </a:r>
            <a:endParaRPr kumimoji="0" lang="it-IT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9" name="Title 1"/>
          <p:cNvSpPr>
            <a:spLocks noGrp="1"/>
          </p:cNvSpPr>
          <p:nvPr>
            <p:ph type="title"/>
          </p:nvPr>
        </p:nvSpPr>
        <p:spPr>
          <a:xfrm>
            <a:off x="425208" y="-120875"/>
            <a:ext cx="11353800" cy="1263875"/>
          </a:xfrm>
        </p:spPr>
        <p:txBody>
          <a:bodyPr>
            <a:noAutofit/>
          </a:bodyPr>
          <a:lstStyle/>
          <a:p>
            <a:r>
              <a:rPr lang="it-IT" sz="3200" b="1" dirty="0" err="1">
                <a:solidFill>
                  <a:schemeClr val="accent4"/>
                </a:solidFill>
                <a:latin typeface="Arial"/>
                <a:cs typeface="Arial"/>
              </a:rPr>
              <a:t>PERCH</a:t>
            </a:r>
            <a:r>
              <a:rPr lang="it-IT" sz="3200" b="1" cap="all" dirty="0" err="1">
                <a:solidFill>
                  <a:schemeClr val="accent4"/>
                </a:solidFill>
                <a:latin typeface="Arial"/>
                <a:cs typeface="Arial"/>
              </a:rPr>
              <a:t>è</a:t>
            </a:r>
            <a:r>
              <a:rPr lang="it-IT" sz="3200" b="1" cap="all" dirty="0">
                <a:solidFill>
                  <a:schemeClr val="accent4"/>
                </a:solidFill>
                <a:latin typeface="Arial"/>
                <a:cs typeface="Arial"/>
              </a:rPr>
              <a:t> </a:t>
            </a:r>
            <a:r>
              <a:rPr lang="it-IT" sz="3200" b="1" dirty="0">
                <a:solidFill>
                  <a:schemeClr val="accent4"/>
                </a:solidFill>
                <a:latin typeface="Arial"/>
                <a:cs typeface="Arial"/>
              </a:rPr>
              <a:t>FASTWEB, </a:t>
            </a:r>
            <a:r>
              <a:rPr lang="it-IT" sz="3200" b="1" cap="all" dirty="0" err="1">
                <a:solidFill>
                  <a:schemeClr val="accent4"/>
                </a:solidFill>
                <a:latin typeface="Arial"/>
                <a:cs typeface="Arial"/>
              </a:rPr>
              <a:t>perchè</a:t>
            </a:r>
            <a:r>
              <a:rPr lang="it-IT" sz="3200" b="1" cap="all" dirty="0">
                <a:solidFill>
                  <a:schemeClr val="accent4"/>
                </a:solidFill>
                <a:latin typeface="Arial"/>
                <a:cs typeface="Arial"/>
              </a:rPr>
              <a:t> ROMA</a:t>
            </a:r>
          </a:p>
        </p:txBody>
      </p:sp>
      <p:pic>
        <p:nvPicPr>
          <p:cNvPr id="41" name="Immagine 40" descr="Logo Fastweb Giallo su fondo Nero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31596" y="338458"/>
            <a:ext cx="879404" cy="728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884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magine 18" descr="fb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52400"/>
            <a:ext cx="12192000" cy="6324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208" y="-120875"/>
            <a:ext cx="11353800" cy="1263875"/>
          </a:xfrm>
        </p:spPr>
        <p:txBody>
          <a:bodyPr>
            <a:noAutofit/>
          </a:bodyPr>
          <a:lstStyle/>
          <a:p>
            <a:r>
              <a:rPr lang="it-IT" sz="3200" b="1" dirty="0" err="1">
                <a:solidFill>
                  <a:schemeClr val="accent4"/>
                </a:solidFill>
                <a:latin typeface="Arial"/>
                <a:cs typeface="Arial"/>
              </a:rPr>
              <a:t>PERCH</a:t>
            </a:r>
            <a:r>
              <a:rPr lang="it-IT" sz="3200" b="1" cap="all" dirty="0" err="1">
                <a:solidFill>
                  <a:schemeClr val="accent4"/>
                </a:solidFill>
                <a:latin typeface="Arial"/>
                <a:cs typeface="Arial"/>
              </a:rPr>
              <a:t>è</a:t>
            </a:r>
            <a:r>
              <a:rPr lang="it-IT" sz="3200" b="1" cap="all" dirty="0">
                <a:solidFill>
                  <a:schemeClr val="accent4"/>
                </a:solidFill>
                <a:latin typeface="Arial"/>
                <a:cs typeface="Arial"/>
              </a:rPr>
              <a:t> </a:t>
            </a:r>
            <a:r>
              <a:rPr lang="it-IT" sz="3200" b="1" dirty="0">
                <a:solidFill>
                  <a:schemeClr val="accent4"/>
                </a:solidFill>
                <a:latin typeface="Arial"/>
                <a:cs typeface="Arial"/>
              </a:rPr>
              <a:t>FASTWEB, </a:t>
            </a:r>
            <a:r>
              <a:rPr lang="it-IT" sz="3200" b="1" cap="all" dirty="0" err="1">
                <a:solidFill>
                  <a:schemeClr val="accent4"/>
                </a:solidFill>
                <a:latin typeface="Arial"/>
                <a:cs typeface="Arial"/>
              </a:rPr>
              <a:t>perchè</a:t>
            </a:r>
            <a:r>
              <a:rPr lang="it-IT" sz="3200" b="1" cap="all" dirty="0">
                <a:solidFill>
                  <a:schemeClr val="accent4"/>
                </a:solidFill>
                <a:latin typeface="Arial"/>
                <a:cs typeface="Arial"/>
              </a:rPr>
              <a:t> ROMA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543328" y="914882"/>
            <a:ext cx="2692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 sz="1200">
                <a:solidFill>
                  <a:srgbClr val="454545"/>
                </a:solidFill>
                <a:latin typeface="Interstate-Black" panose="02000603040000020004" pitchFamily="2" charset="0"/>
                <a:ea typeface="Interstate-BlackItalic"/>
                <a:cs typeface="Interstate-BlackItalic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2018 - 2019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812510" y="1296425"/>
            <a:ext cx="9906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0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Fi</a:t>
            </a:r>
            <a:endParaRPr kumimoji="0" lang="it-IT" sz="3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57200" y="2099608"/>
            <a:ext cx="383880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Interstate-BlackItalic"/>
                <a:cs typeface="Arial"/>
              </a:rPr>
              <a:t>Una presenza ‘storica’ </a:t>
            </a:r>
          </a:p>
          <a:p>
            <a:pPr>
              <a:defRPr/>
            </a:pP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Interstate-BlackItalic"/>
                <a:cs typeface="Arial"/>
              </a:rPr>
              <a:t>e un’infrastruttura capillare </a:t>
            </a:r>
          </a:p>
          <a:p>
            <a:pPr>
              <a:defRPr/>
            </a:pP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Interstate-BlackItalic"/>
                <a:cs typeface="Arial"/>
              </a:rPr>
              <a:t>e all’avanguardia</a:t>
            </a:r>
            <a:r>
              <a:rPr kumimoji="0" lang="it-IT" sz="2400" b="1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Interstate-BlackItalic"/>
                <a:cs typeface="Arial"/>
              </a:rPr>
              <a:t> </a:t>
            </a:r>
            <a:r>
              <a:rPr lang="it-IT" sz="2400" b="1" dirty="0">
                <a:solidFill>
                  <a:schemeClr val="bg1"/>
                </a:solidFill>
                <a:latin typeface="Arial"/>
                <a:cs typeface="Arial"/>
              </a:rPr>
              <a:t>grazie </a:t>
            </a:r>
          </a:p>
          <a:p>
            <a:pPr>
              <a:defRPr/>
            </a:pPr>
            <a:r>
              <a:rPr lang="it-IT" sz="2400" b="1" dirty="0">
                <a:solidFill>
                  <a:schemeClr val="bg1"/>
                </a:solidFill>
                <a:latin typeface="Arial"/>
                <a:cs typeface="Arial"/>
              </a:rPr>
              <a:t>alla quale possiamo </a:t>
            </a:r>
          </a:p>
          <a:p>
            <a:pPr>
              <a:defRPr/>
            </a:pPr>
            <a:r>
              <a:rPr lang="it-IT" sz="2400" b="1" dirty="0">
                <a:solidFill>
                  <a:schemeClr val="bg1"/>
                </a:solidFill>
                <a:latin typeface="Arial"/>
                <a:cs typeface="Arial"/>
              </a:rPr>
              <a:t>sperimentare il futuro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Interstate-BlackItalic"/>
              <a:cs typeface="Arial"/>
            </a:endParaRPr>
          </a:p>
        </p:txBody>
      </p:sp>
      <p:pic>
        <p:nvPicPr>
          <p:cNvPr id="6" name="Picture 5"/>
          <p:cNvPicPr preferRelativeResize="0"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4543328" y="1288968"/>
            <a:ext cx="2702133" cy="1621280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7812511" y="1965830"/>
            <a:ext cx="3915632" cy="743171"/>
            <a:chOff x="4601467" y="4112265"/>
            <a:chExt cx="4267015" cy="1144107"/>
          </a:xfrm>
        </p:grpSpPr>
        <p:sp>
          <p:nvSpPr>
            <p:cNvPr id="28" name="TextBox 27"/>
            <p:cNvSpPr txBox="1"/>
            <p:nvPr/>
          </p:nvSpPr>
          <p:spPr>
            <a:xfrm>
              <a:off x="4601467" y="4735170"/>
              <a:ext cx="4095138" cy="5212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>
                <a:defRPr sz="1600">
                  <a:solidFill>
                    <a:schemeClr val="bg2">
                      <a:lumMod val="50000"/>
                    </a:schemeClr>
                  </a:solidFill>
                  <a:latin typeface="Interstate-Light" panose="02000606030000020004" pitchFamily="2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nterstate-Light" panose="02000606030000020004" pitchFamily="2" charset="0"/>
                  <a:ea typeface="+mn-ea"/>
                  <a:cs typeface="+mn-cs"/>
                </a:rPr>
                <a:t>2.000 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nterstate-Light" panose="02000606030000020004" pitchFamily="2" charset="0"/>
                  <a:ea typeface="+mn-ea"/>
                  <a:cs typeface="+mn-cs"/>
                </a:rPr>
                <a:t>access point </a:t>
              </a:r>
              <a:r>
                <a:rPr kumimoji="0" lang="en-U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nterstate-Light" panose="02000606030000020004" pitchFamily="2" charset="0"/>
                  <a:ea typeface="+mn-ea"/>
                  <a:cs typeface="+mn-cs"/>
                </a:rPr>
                <a:t>WiFi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nterstate-Light" panose="02000606030000020004" pitchFamily="2" charset="0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4601468" y="4112265"/>
              <a:ext cx="4267014" cy="5212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>
                <a:defRPr sz="1600">
                  <a:solidFill>
                    <a:schemeClr val="bg2">
                      <a:lumMod val="50000"/>
                    </a:schemeClr>
                  </a:solidFill>
                  <a:latin typeface="Interstate-Light" panose="02000606030000020004" pitchFamily="2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Interstate-Light" panose="02000606030000020004" pitchFamily="2" charset="0"/>
                  <a:ea typeface="+mn-ea"/>
                  <a:cs typeface="+mn-cs"/>
                </a:rPr>
                <a:t>6.0 milioni investiti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nterstate-Light" panose="02000606030000020004" pitchFamily="2" charset="0"/>
                <a:ea typeface="+mn-ea"/>
                <a:cs typeface="+mn-cs"/>
              </a:endParaRPr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7812510" y="3505556"/>
            <a:ext cx="311908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REQUENZ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812512" y="4149000"/>
            <a:ext cx="1346213" cy="292388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>
            <a:defPPr>
              <a:defRPr lang="it-IT"/>
            </a:defPPr>
            <a:lvl1pPr>
              <a:defRPr sz="1600">
                <a:solidFill>
                  <a:schemeClr val="bg2">
                    <a:lumMod val="50000"/>
                  </a:schemeClr>
                </a:solidFill>
                <a:latin typeface="Interstate-Light" panose="02000606030000020004" pitchFamily="2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Interstate-Light" panose="02000606030000020004" pitchFamily="2" charset="0"/>
                <a:ea typeface="+mn-ea"/>
                <a:cs typeface="+mn-cs"/>
              </a:rPr>
              <a:t>3.5 GHz</a:t>
            </a:r>
          </a:p>
        </p:txBody>
      </p:sp>
      <p:pic>
        <p:nvPicPr>
          <p:cNvPr id="20" name="Immagine 19" descr="Senza titolo-3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3328" y="3467100"/>
            <a:ext cx="2692400" cy="1600200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21" name="TextBox 24"/>
          <p:cNvSpPr txBox="1"/>
          <p:nvPr/>
        </p:nvSpPr>
        <p:spPr>
          <a:xfrm>
            <a:off x="4543328" y="3069000"/>
            <a:ext cx="2692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 sz="1200">
                <a:solidFill>
                  <a:srgbClr val="454545"/>
                </a:solidFill>
                <a:latin typeface="Interstate-Black" panose="02000603040000020004" pitchFamily="2" charset="0"/>
                <a:ea typeface="Interstate-BlackItalic"/>
                <a:cs typeface="Interstate-BlackItalic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2017</a:t>
            </a:r>
          </a:p>
        </p:txBody>
      </p:sp>
      <p:pic>
        <p:nvPicPr>
          <p:cNvPr id="22" name="Immagine 21" descr="Logo Fastweb Giallo su fondo Nero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31596" y="338458"/>
            <a:ext cx="879404" cy="728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685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" name="Immagine 80" descr="fb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52400"/>
            <a:ext cx="12192000" cy="6324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208" y="-120875"/>
            <a:ext cx="11353800" cy="1263875"/>
          </a:xfrm>
        </p:spPr>
        <p:txBody>
          <a:bodyPr>
            <a:noAutofit/>
          </a:bodyPr>
          <a:lstStyle/>
          <a:p>
            <a:r>
              <a:rPr lang="it-IT" sz="3200" b="1" dirty="0">
                <a:solidFill>
                  <a:schemeClr val="accent4"/>
                </a:solidFill>
                <a:latin typeface="Arial"/>
                <a:cs typeface="Arial"/>
              </a:rPr>
              <a:t>CRONOPROGRAMMA</a:t>
            </a:r>
          </a:p>
        </p:txBody>
      </p:sp>
      <p:sp>
        <p:nvSpPr>
          <p:cNvPr id="19" name="Gruppo"/>
          <p:cNvSpPr/>
          <p:nvPr/>
        </p:nvSpPr>
        <p:spPr>
          <a:xfrm>
            <a:off x="1066801" y="3752376"/>
            <a:ext cx="10591800" cy="8382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0"/>
                </a:lnTo>
                <a:lnTo>
                  <a:pt x="20763" y="21600"/>
                </a:lnTo>
                <a:lnTo>
                  <a:pt x="11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15000"/>
            </a:schemeClr>
          </a:solidFill>
          <a:ln w="12700">
            <a:solidFill>
              <a:schemeClr val="accent4"/>
            </a:solidFill>
            <a:miter lim="400000"/>
          </a:ln>
          <a:effectLst/>
        </p:spPr>
        <p:txBody>
          <a:bodyPr lIns="72000" tIns="72000" rIns="72000" bIns="72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/>
            </a:pPr>
            <a:endParaRPr kumimoji="0" sz="3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0" name="Gruppo"/>
          <p:cNvGrpSpPr>
            <a:grpSpLocks noChangeAspect="1"/>
          </p:cNvGrpSpPr>
          <p:nvPr/>
        </p:nvGrpSpPr>
        <p:grpSpPr>
          <a:xfrm>
            <a:off x="1016429" y="1274343"/>
            <a:ext cx="935457" cy="935457"/>
            <a:chOff x="0" y="0"/>
            <a:chExt cx="2461726" cy="2461726"/>
          </a:xfrm>
        </p:grpSpPr>
        <p:pic>
          <p:nvPicPr>
            <p:cNvPr id="21" name="Immagine" descr="Immagine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2461727" cy="246172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22" name="Oval 20"/>
            <p:cNvSpPr/>
            <p:nvPr/>
          </p:nvSpPr>
          <p:spPr>
            <a:xfrm>
              <a:off x="692902" y="436603"/>
              <a:ext cx="1097627" cy="1089320"/>
            </a:xfrm>
            <a:prstGeom prst="ellipse">
              <a:avLst/>
            </a:prstGeom>
            <a:solidFill>
              <a:srgbClr val="FFBF00"/>
            </a:solidFill>
            <a:ln w="12700" cap="flat">
              <a:noFill/>
              <a:miter lim="400000"/>
            </a:ln>
            <a:effectLst/>
          </p:spPr>
          <p:txBody>
            <a:bodyPr wrap="square" lIns="192000" tIns="192000" rIns="192000" bIns="192000" numCol="1" anchor="ctr">
              <a:noAutofit/>
            </a:bodyPr>
            <a:lstStyle/>
            <a:p>
              <a:pPr marL="0" marR="0" lvl="0" indent="0" algn="ctr" defTabSz="2438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>
                  <a:solidFill>
                    <a:srgbClr val="5F5F5F"/>
                  </a:solidFill>
                </a:defRPr>
              </a:pPr>
              <a:endParaRPr kumimoji="0" sz="6400" b="0" i="0" u="none" strike="noStrike" kern="1200" cap="none" spc="0" normalizeH="0" baseline="0" noProof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  <a:latin typeface="Interstate-LightCondensed" panose="02000606050000020004" pitchFamily="2" charset="0"/>
                <a:ea typeface="+mn-ea"/>
                <a:cs typeface="+mn-cs"/>
              </a:endParaRPr>
            </a:p>
          </p:txBody>
        </p:sp>
      </p:grpSp>
      <p:sp>
        <p:nvSpPr>
          <p:cNvPr id="23" name="Rectangle 122"/>
          <p:cNvSpPr txBox="1"/>
          <p:nvPr/>
        </p:nvSpPr>
        <p:spPr>
          <a:xfrm>
            <a:off x="650561" y="990600"/>
            <a:ext cx="1667192" cy="369332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xmlns:mv="urn:schemas-microsoft-com:mac:vml" xmlns:mc="http://schemas.openxmlformats.org/markup-compatibility/2006" val="1"/>
            </a:ext>
          </a:extLst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 sz="2000">
                <a:solidFill>
                  <a:srgbClr val="454545"/>
                </a:solidFill>
                <a:latin typeface="Interstate-Black" panose="02000603040000020004" pitchFamily="2" charset="0"/>
                <a:ea typeface="Interstate-BlackItalic"/>
                <a:cs typeface="Interstate-BlackItalic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Set 2017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grpSp>
        <p:nvGrpSpPr>
          <p:cNvPr id="24" name="Gruppo"/>
          <p:cNvGrpSpPr>
            <a:grpSpLocks noChangeAspect="1"/>
          </p:cNvGrpSpPr>
          <p:nvPr/>
        </p:nvGrpSpPr>
        <p:grpSpPr>
          <a:xfrm>
            <a:off x="2260614" y="1274343"/>
            <a:ext cx="935457" cy="935457"/>
            <a:chOff x="0" y="0"/>
            <a:chExt cx="2461726" cy="2461726"/>
          </a:xfrm>
        </p:grpSpPr>
        <p:pic>
          <p:nvPicPr>
            <p:cNvPr id="27" name="Immagine" descr="Immagine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2461727" cy="246172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29" name="Oval 20"/>
            <p:cNvSpPr/>
            <p:nvPr/>
          </p:nvSpPr>
          <p:spPr>
            <a:xfrm>
              <a:off x="692902" y="436603"/>
              <a:ext cx="1097627" cy="1089320"/>
            </a:xfrm>
            <a:prstGeom prst="ellipse">
              <a:avLst/>
            </a:prstGeom>
            <a:solidFill>
              <a:srgbClr val="FFBF00"/>
            </a:solidFill>
            <a:ln w="12700" cap="flat">
              <a:noFill/>
              <a:miter lim="400000"/>
            </a:ln>
            <a:effectLst/>
          </p:spPr>
          <p:txBody>
            <a:bodyPr wrap="square" lIns="192000" tIns="192000" rIns="192000" bIns="192000" numCol="1" anchor="ctr">
              <a:noAutofit/>
            </a:bodyPr>
            <a:lstStyle/>
            <a:p>
              <a:pPr marL="0" marR="0" lvl="0" indent="0" algn="ctr" defTabSz="2438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>
                  <a:solidFill>
                    <a:srgbClr val="5F5F5F"/>
                  </a:solidFill>
                </a:defRPr>
              </a:pPr>
              <a:endParaRPr kumimoji="0" sz="6400" b="0" i="0" u="none" strike="noStrike" kern="1200" cap="none" spc="0" normalizeH="0" baseline="0" noProof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  <a:latin typeface="Interstate-LightCondensed" panose="02000606050000020004" pitchFamily="2" charset="0"/>
                <a:ea typeface="+mn-ea"/>
                <a:cs typeface="+mn-cs"/>
              </a:endParaRPr>
            </a:p>
          </p:txBody>
        </p:sp>
      </p:grpSp>
      <p:sp>
        <p:nvSpPr>
          <p:cNvPr id="30" name="Rectangle 122"/>
          <p:cNvSpPr txBox="1"/>
          <p:nvPr/>
        </p:nvSpPr>
        <p:spPr>
          <a:xfrm>
            <a:off x="5016000" y="3835455"/>
            <a:ext cx="2255364" cy="880193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mv="urn:schemas-microsoft-com:mac:vml" xmlns:mc="http://schemas.openxmlformats.org/markup-compatibility/2006" val="1"/>
            </a:ext>
          </a:extLst>
        </p:spPr>
        <p:txBody>
          <a:bodyPr wrap="square" lIns="192000" tIns="192000" rIns="192000" bIns="192000" numCol="1" anchor="ctr">
            <a:spAutoFit/>
          </a:bodyPr>
          <a:lstStyle>
            <a:defPPr>
              <a:defRPr lang="it-IT"/>
            </a:defPPr>
            <a:lvl1pPr algn="ctr" defTabSz="2438400"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Interstate-BoldItalic" panose="02000803020000090004" pitchFamily="2" charset="0"/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vvio attivazione </a:t>
            </a:r>
          </a:p>
          <a:p>
            <a:pPr marL="0" marR="0" lvl="0" indent="0" algn="ctr" defTabSz="243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iti Macro 5G  </a:t>
            </a:r>
          </a:p>
        </p:txBody>
      </p:sp>
      <p:grpSp>
        <p:nvGrpSpPr>
          <p:cNvPr id="31" name="Gruppo"/>
          <p:cNvGrpSpPr>
            <a:grpSpLocks noChangeAspect="1"/>
          </p:cNvGrpSpPr>
          <p:nvPr/>
        </p:nvGrpSpPr>
        <p:grpSpPr>
          <a:xfrm>
            <a:off x="5675954" y="1274343"/>
            <a:ext cx="935457" cy="935457"/>
            <a:chOff x="0" y="0"/>
            <a:chExt cx="2461726" cy="2461726"/>
          </a:xfrm>
        </p:grpSpPr>
        <p:pic>
          <p:nvPicPr>
            <p:cNvPr id="32" name="Immagine" descr="Immagine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2461727" cy="246172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33" name="Oval 20"/>
            <p:cNvSpPr/>
            <p:nvPr/>
          </p:nvSpPr>
          <p:spPr>
            <a:xfrm>
              <a:off x="692902" y="436603"/>
              <a:ext cx="1097627" cy="1089320"/>
            </a:xfrm>
            <a:prstGeom prst="ellipse">
              <a:avLst/>
            </a:prstGeom>
            <a:solidFill>
              <a:srgbClr val="FFBF00"/>
            </a:solidFill>
            <a:ln w="12700" cap="flat">
              <a:noFill/>
              <a:miter lim="400000"/>
            </a:ln>
            <a:effectLst/>
          </p:spPr>
          <p:txBody>
            <a:bodyPr wrap="square" lIns="192000" tIns="192000" rIns="192000" bIns="192000" numCol="1" anchor="ctr">
              <a:noAutofit/>
            </a:bodyPr>
            <a:lstStyle/>
            <a:p>
              <a:pPr marL="0" marR="0" lvl="0" indent="0" algn="ctr" defTabSz="2438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>
                  <a:solidFill>
                    <a:srgbClr val="5F5F5F"/>
                  </a:solidFill>
                </a:defRPr>
              </a:pPr>
              <a:endParaRPr kumimoji="0" sz="6400" b="0" i="0" u="none" strike="noStrike" kern="1200" cap="none" spc="0" normalizeH="0" baseline="0" noProof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  <a:latin typeface="Interstate-LightCondensed" panose="02000606050000020004" pitchFamily="2" charset="0"/>
                <a:ea typeface="+mn-ea"/>
                <a:cs typeface="+mn-cs"/>
              </a:endParaRPr>
            </a:p>
          </p:txBody>
        </p:sp>
      </p:grpSp>
      <p:sp>
        <p:nvSpPr>
          <p:cNvPr id="34" name="Rectangle 122"/>
          <p:cNvSpPr txBox="1"/>
          <p:nvPr/>
        </p:nvSpPr>
        <p:spPr>
          <a:xfrm>
            <a:off x="5310086" y="990600"/>
            <a:ext cx="1667192" cy="369332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xmlns:mv="urn:schemas-microsoft-com:mac:vml" xmlns:mc="http://schemas.openxmlformats.org/markup-compatibility/2006" val="1"/>
            </a:ext>
          </a:extLst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 sz="2000">
                <a:solidFill>
                  <a:srgbClr val="454545"/>
                </a:solidFill>
                <a:latin typeface="Interstate-Black" panose="02000603040000020004" pitchFamily="2" charset="0"/>
                <a:ea typeface="Interstate-BlackItalic"/>
                <a:cs typeface="Interstate-BlackItalic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4Q 2018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35" name="Rectangle 122"/>
          <p:cNvSpPr txBox="1"/>
          <p:nvPr/>
        </p:nvSpPr>
        <p:spPr>
          <a:xfrm>
            <a:off x="7176000" y="3835455"/>
            <a:ext cx="1983210" cy="880193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mv="urn:schemas-microsoft-com:mac:vml" xmlns:mc="http://schemas.openxmlformats.org/markup-compatibility/2006" val="1"/>
            </a:ext>
          </a:extLst>
        </p:spPr>
        <p:txBody>
          <a:bodyPr wrap="square" lIns="192000" tIns="192000" rIns="192000" bIns="192000" numCol="1" anchor="ctr">
            <a:spAutoFit/>
          </a:bodyPr>
          <a:lstStyle>
            <a:defPPr>
              <a:defRPr lang="it-IT"/>
            </a:defPPr>
            <a:lvl1pPr algn="ctr" defTabSz="2438400">
              <a:defRPr sz="1600">
                <a:solidFill>
                  <a:schemeClr val="bg2">
                    <a:lumMod val="50000"/>
                  </a:schemeClr>
                </a:solidFill>
                <a:latin typeface="Interstate-Light" panose="02000606030000020004" pitchFamily="2" charset="0"/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pletamento siti Macro 5G </a:t>
            </a:r>
          </a:p>
        </p:txBody>
      </p:sp>
      <p:grpSp>
        <p:nvGrpSpPr>
          <p:cNvPr id="36" name="Gruppo"/>
          <p:cNvGrpSpPr>
            <a:grpSpLocks noChangeAspect="1"/>
          </p:cNvGrpSpPr>
          <p:nvPr/>
        </p:nvGrpSpPr>
        <p:grpSpPr>
          <a:xfrm>
            <a:off x="7699877" y="1270629"/>
            <a:ext cx="935457" cy="935457"/>
            <a:chOff x="0" y="0"/>
            <a:chExt cx="2461726" cy="2461726"/>
          </a:xfrm>
        </p:grpSpPr>
        <p:pic>
          <p:nvPicPr>
            <p:cNvPr id="37" name="Immagine" descr="Immagine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2461727" cy="246172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38" name="Oval 20"/>
            <p:cNvSpPr/>
            <p:nvPr/>
          </p:nvSpPr>
          <p:spPr>
            <a:xfrm>
              <a:off x="692902" y="436603"/>
              <a:ext cx="1097627" cy="1089320"/>
            </a:xfrm>
            <a:prstGeom prst="ellipse">
              <a:avLst/>
            </a:prstGeom>
            <a:solidFill>
              <a:srgbClr val="FFBF00"/>
            </a:solidFill>
            <a:ln w="12700" cap="flat">
              <a:noFill/>
              <a:miter lim="400000"/>
            </a:ln>
            <a:effectLst/>
          </p:spPr>
          <p:txBody>
            <a:bodyPr wrap="square" lIns="192000" tIns="192000" rIns="192000" bIns="192000" numCol="1" anchor="ctr">
              <a:noAutofit/>
            </a:bodyPr>
            <a:lstStyle/>
            <a:p>
              <a:pPr marL="0" marR="0" lvl="0" indent="0" algn="ctr" defTabSz="2438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>
                  <a:solidFill>
                    <a:srgbClr val="5F5F5F"/>
                  </a:solidFill>
                </a:defRPr>
              </a:pPr>
              <a:endParaRPr kumimoji="0" sz="6400" b="0" i="0" u="none" strike="noStrike" kern="1200" cap="none" spc="0" normalizeH="0" baseline="0" noProof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  <a:latin typeface="Interstate-LightCondensed" panose="02000606050000020004" pitchFamily="2" charset="0"/>
                <a:ea typeface="+mn-ea"/>
                <a:cs typeface="+mn-cs"/>
              </a:endParaRPr>
            </a:p>
          </p:txBody>
        </p:sp>
      </p:grpSp>
      <p:sp>
        <p:nvSpPr>
          <p:cNvPr id="39" name="Rectangle 122"/>
          <p:cNvSpPr txBox="1"/>
          <p:nvPr/>
        </p:nvSpPr>
        <p:spPr>
          <a:xfrm>
            <a:off x="7334009" y="990600"/>
            <a:ext cx="1667192" cy="369332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xmlns:mv="urn:schemas-microsoft-com:mac:vml" xmlns:mc="http://schemas.openxmlformats.org/markup-compatibility/2006" val="1"/>
            </a:ext>
          </a:extLst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 sz="2000">
                <a:solidFill>
                  <a:srgbClr val="454545"/>
                </a:solidFill>
                <a:latin typeface="Interstate-Black" panose="02000603040000020004" pitchFamily="2" charset="0"/>
                <a:ea typeface="Interstate-BlackItalic"/>
                <a:cs typeface="Interstate-BlackItalic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1H 2019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40" name="Rectangle 122"/>
          <p:cNvSpPr txBox="1"/>
          <p:nvPr/>
        </p:nvSpPr>
        <p:spPr>
          <a:xfrm rot="16200000">
            <a:off x="174201" y="3984201"/>
            <a:ext cx="958666" cy="369332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xmlns:mv="urn:schemas-microsoft-com:mac:vml" xmlns:mc="http://schemas.openxmlformats.org/markup-compatibility/2006" val="1"/>
            </a:ext>
          </a:extLst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>
                <a:solidFill>
                  <a:srgbClr val="454545"/>
                </a:solidFill>
                <a:latin typeface="Interstate-Black" panose="02000603040000020004" pitchFamily="2" charset="0"/>
                <a:ea typeface="Interstate-BlackItalic"/>
                <a:cs typeface="Interstate-BlackItalic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Rete</a:t>
            </a:r>
            <a:endParaRPr kumimoji="0" sz="1800" b="1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44" name="Rectangle 122"/>
          <p:cNvSpPr txBox="1"/>
          <p:nvPr/>
        </p:nvSpPr>
        <p:spPr>
          <a:xfrm rot="16200000">
            <a:off x="66406" y="4898262"/>
            <a:ext cx="1174256" cy="369332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xmlns:mv="urn:schemas-microsoft-com:mac:vml" xmlns:mc="http://schemas.openxmlformats.org/markup-compatibility/2006" val="1"/>
            </a:ext>
          </a:extLst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>
                <a:solidFill>
                  <a:srgbClr val="454545"/>
                </a:solidFill>
                <a:latin typeface="Interstate-Black" panose="02000603040000020004" pitchFamily="2" charset="0"/>
                <a:ea typeface="Interstate-BlackItalic"/>
                <a:cs typeface="Interstate-BlackItalic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Servizi</a:t>
            </a:r>
            <a:endParaRPr kumimoji="0" b="1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45" name="Rectangle 122"/>
          <p:cNvSpPr txBox="1"/>
          <p:nvPr/>
        </p:nvSpPr>
        <p:spPr>
          <a:xfrm>
            <a:off x="1894746" y="990600"/>
            <a:ext cx="1667192" cy="369332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xmlns:mv="urn:schemas-microsoft-com:mac:vml" xmlns:mc="http://schemas.openxmlformats.org/markup-compatibility/2006" val="1"/>
            </a:ext>
          </a:extLst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 sz="2000">
                <a:solidFill>
                  <a:srgbClr val="454545"/>
                </a:solidFill>
                <a:latin typeface="Interstate-Black" panose="02000603040000020004" pitchFamily="2" charset="0"/>
                <a:ea typeface="Interstate-BlackItalic"/>
                <a:cs typeface="Interstate-BlackItalic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Feb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 2018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46" name="Gruppo"/>
          <p:cNvSpPr/>
          <p:nvPr/>
        </p:nvSpPr>
        <p:spPr>
          <a:xfrm>
            <a:off x="1085145" y="4742976"/>
            <a:ext cx="10393913" cy="762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0"/>
                </a:lnTo>
                <a:lnTo>
                  <a:pt x="20763" y="21600"/>
                </a:lnTo>
                <a:lnTo>
                  <a:pt x="11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 w="12700">
            <a:solidFill>
              <a:schemeClr val="accent4"/>
            </a:solidFill>
            <a:miter lim="400000"/>
          </a:ln>
          <a:effectLst/>
        </p:spPr>
        <p:txBody>
          <a:bodyPr lIns="72000" tIns="72000" rIns="72000" bIns="72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/>
            </a:pPr>
            <a:endParaRPr kumimoji="0" sz="3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8" name="Straight Connector 47"/>
          <p:cNvCxnSpPr/>
          <p:nvPr/>
        </p:nvCxnSpPr>
        <p:spPr>
          <a:xfrm>
            <a:off x="2728342" y="2209801"/>
            <a:ext cx="0" cy="270000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prstDash val="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>
          <a:xfrm>
            <a:off x="1739089" y="4771062"/>
            <a:ext cx="1978506" cy="880193"/>
          </a:xfrm>
          <a:prstGeom prst="rect">
            <a:avLst/>
          </a:prstGeom>
          <a:noFill/>
          <a:ln w="25400" cap="flat">
            <a:noFill/>
            <a:miter lim="400000"/>
          </a:ln>
          <a:effectLst/>
        </p:spPr>
        <p:txBody>
          <a:bodyPr wrap="square" lIns="192000" tIns="192000" rIns="192000" bIns="192000" numCol="1" anchor="ctr">
            <a:spAutoFit/>
          </a:bodyPr>
          <a:lstStyle/>
          <a:p>
            <a:pPr marL="0" marR="0" lvl="0" indent="0" algn="ctr" defTabSz="243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mo tecnica prestazioni 5G</a:t>
            </a:r>
          </a:p>
        </p:txBody>
      </p:sp>
      <p:cxnSp>
        <p:nvCxnSpPr>
          <p:cNvPr id="50" name="Straight Connector 49"/>
          <p:cNvCxnSpPr/>
          <p:nvPr/>
        </p:nvCxnSpPr>
        <p:spPr>
          <a:xfrm>
            <a:off x="6143682" y="2209800"/>
            <a:ext cx="0" cy="180000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prstDash val="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8167605" y="2209800"/>
            <a:ext cx="0" cy="176400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prstDash val="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122"/>
          <p:cNvSpPr txBox="1"/>
          <p:nvPr/>
        </p:nvSpPr>
        <p:spPr>
          <a:xfrm>
            <a:off x="9077050" y="3835454"/>
            <a:ext cx="2246400" cy="880193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mv="urn:schemas-microsoft-com:mac:vml" xmlns:mc="http://schemas.openxmlformats.org/markup-compatibility/2006" val="1"/>
            </a:ext>
          </a:extLst>
        </p:spPr>
        <p:txBody>
          <a:bodyPr wrap="square" lIns="192000" tIns="192000" rIns="192000" bIns="192000" numCol="1" anchor="ctr">
            <a:spAutoFit/>
          </a:bodyPr>
          <a:lstStyle>
            <a:defPPr>
              <a:defRPr lang="it-IT"/>
            </a:defPPr>
            <a:lvl1pPr algn="ctr" defTabSz="2438400">
              <a:defRPr sz="1600">
                <a:solidFill>
                  <a:schemeClr val="bg2">
                    <a:lumMod val="50000"/>
                  </a:schemeClr>
                </a:solidFill>
                <a:latin typeface="Interstate-Light" panose="02000606030000020004" pitchFamily="2" charset="0"/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nsificazione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</a:p>
          <a:p>
            <a:pPr marL="0" marR="0" lvl="0" indent="0" algn="ctr" defTabSz="243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 Small </a:t>
            </a:r>
            <a:r>
              <a:rPr kumimoji="0" lang="it-IT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ells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5G</a:t>
            </a:r>
          </a:p>
        </p:txBody>
      </p:sp>
      <p:grpSp>
        <p:nvGrpSpPr>
          <p:cNvPr id="53" name="Gruppo"/>
          <p:cNvGrpSpPr>
            <a:grpSpLocks noChangeAspect="1"/>
          </p:cNvGrpSpPr>
          <p:nvPr/>
        </p:nvGrpSpPr>
        <p:grpSpPr>
          <a:xfrm>
            <a:off x="9732543" y="1266913"/>
            <a:ext cx="935457" cy="935457"/>
            <a:chOff x="0" y="0"/>
            <a:chExt cx="2461726" cy="2461726"/>
          </a:xfrm>
        </p:grpSpPr>
        <p:pic>
          <p:nvPicPr>
            <p:cNvPr id="54" name="Immagine" descr="Immagine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2461727" cy="246172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55" name="Oval 20"/>
            <p:cNvSpPr/>
            <p:nvPr/>
          </p:nvSpPr>
          <p:spPr>
            <a:xfrm>
              <a:off x="692902" y="436603"/>
              <a:ext cx="1097627" cy="1089320"/>
            </a:xfrm>
            <a:prstGeom prst="ellipse">
              <a:avLst/>
            </a:prstGeom>
            <a:solidFill>
              <a:srgbClr val="FFBF00"/>
            </a:solidFill>
            <a:ln w="12700" cap="flat">
              <a:noFill/>
              <a:miter lim="400000"/>
            </a:ln>
            <a:effectLst/>
          </p:spPr>
          <p:txBody>
            <a:bodyPr wrap="square" lIns="192000" tIns="192000" rIns="192000" bIns="192000" numCol="1" anchor="ctr">
              <a:noAutofit/>
            </a:bodyPr>
            <a:lstStyle/>
            <a:p>
              <a:pPr marL="0" marR="0" lvl="0" indent="0" algn="ctr" defTabSz="2438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>
                  <a:solidFill>
                    <a:srgbClr val="5F5F5F"/>
                  </a:solidFill>
                </a:defRPr>
              </a:pPr>
              <a:endParaRPr kumimoji="0" sz="6400" b="0" i="0" u="none" strike="noStrike" kern="1200" cap="none" spc="0" normalizeH="0" baseline="0" noProof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  <a:latin typeface="Interstate-LightCondensed" panose="02000606050000020004" pitchFamily="2" charset="0"/>
                <a:ea typeface="+mn-ea"/>
                <a:cs typeface="+mn-cs"/>
              </a:endParaRPr>
            </a:p>
          </p:txBody>
        </p:sp>
      </p:grpSp>
      <p:sp>
        <p:nvSpPr>
          <p:cNvPr id="56" name="Rectangle 122"/>
          <p:cNvSpPr txBox="1"/>
          <p:nvPr/>
        </p:nvSpPr>
        <p:spPr>
          <a:xfrm>
            <a:off x="9104476" y="990600"/>
            <a:ext cx="2249324" cy="369332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xmlns:mv="urn:schemas-microsoft-com:mac:vml" xmlns:mc="http://schemas.openxmlformats.org/markup-compatibility/2006" val="1"/>
            </a:ext>
          </a:extLst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 sz="2000">
                <a:solidFill>
                  <a:srgbClr val="454545"/>
                </a:solidFill>
                <a:latin typeface="Interstate-Black" panose="02000603040000020004" pitchFamily="2" charset="0"/>
                <a:ea typeface="Interstate-BlackItalic"/>
                <a:cs typeface="Interstate-BlackItalic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2H 2019/2020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cxnSp>
        <p:nvCxnSpPr>
          <p:cNvPr id="57" name="Straight Connector 56"/>
          <p:cNvCxnSpPr/>
          <p:nvPr/>
        </p:nvCxnSpPr>
        <p:spPr>
          <a:xfrm>
            <a:off x="10200271" y="2209800"/>
            <a:ext cx="0" cy="176400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prstDash val="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122"/>
          <p:cNvSpPr txBox="1"/>
          <p:nvPr/>
        </p:nvSpPr>
        <p:spPr>
          <a:xfrm>
            <a:off x="3216000" y="4771063"/>
            <a:ext cx="2167482" cy="880193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mv="urn:schemas-microsoft-com:mac:vml" xmlns:mc="http://schemas.openxmlformats.org/markup-compatibility/2006" val="1"/>
            </a:ext>
          </a:extLst>
        </p:spPr>
        <p:txBody>
          <a:bodyPr wrap="square" lIns="192000" tIns="192000" rIns="192000" bIns="192000" numCol="1" anchor="ctr">
            <a:spAutoFit/>
          </a:bodyPr>
          <a:lstStyle>
            <a:defPPr>
              <a:defRPr lang="it-IT"/>
            </a:defPPr>
            <a:lvl1pPr algn="ctr" defTabSz="2438400">
              <a:defRPr sz="1600">
                <a:solidFill>
                  <a:schemeClr val="bg2">
                    <a:lumMod val="50000"/>
                  </a:schemeClr>
                </a:solidFill>
                <a:latin typeface="Interstate-Light" panose="02000606030000020004" pitchFamily="2" charset="0"/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imi scenari </a:t>
            </a:r>
          </a:p>
          <a:p>
            <a:pPr marL="0" marR="0" lvl="0" indent="0" algn="ctr" defTabSz="243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’uso </a:t>
            </a:r>
            <a:r>
              <a:rPr kumimoji="0" lang="it-IT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Fi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59" name="Gruppo"/>
          <p:cNvGrpSpPr>
            <a:grpSpLocks noChangeAspect="1"/>
          </p:cNvGrpSpPr>
          <p:nvPr/>
        </p:nvGrpSpPr>
        <p:grpSpPr>
          <a:xfrm>
            <a:off x="3832013" y="1270629"/>
            <a:ext cx="935457" cy="935457"/>
            <a:chOff x="0" y="0"/>
            <a:chExt cx="2461726" cy="2461726"/>
          </a:xfrm>
        </p:grpSpPr>
        <p:pic>
          <p:nvPicPr>
            <p:cNvPr id="60" name="Immagine" descr="Immagine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2461727" cy="246172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61" name="Oval 20"/>
            <p:cNvSpPr/>
            <p:nvPr/>
          </p:nvSpPr>
          <p:spPr>
            <a:xfrm>
              <a:off x="692902" y="436603"/>
              <a:ext cx="1097627" cy="1089320"/>
            </a:xfrm>
            <a:prstGeom prst="ellipse">
              <a:avLst/>
            </a:prstGeom>
            <a:solidFill>
              <a:srgbClr val="FFBF00"/>
            </a:solidFill>
            <a:ln w="12700" cap="flat">
              <a:noFill/>
              <a:miter lim="400000"/>
            </a:ln>
            <a:effectLst/>
          </p:spPr>
          <p:txBody>
            <a:bodyPr wrap="square" lIns="192000" tIns="192000" rIns="192000" bIns="192000" numCol="1" anchor="ctr">
              <a:noAutofit/>
            </a:bodyPr>
            <a:lstStyle/>
            <a:p>
              <a:pPr marL="0" marR="0" lvl="0" indent="0" algn="ctr" defTabSz="2438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6400">
                  <a:solidFill>
                    <a:srgbClr val="5F5F5F"/>
                  </a:solidFill>
                </a:defRPr>
              </a:pPr>
              <a:endParaRPr kumimoji="0" sz="6400" b="0" i="0" u="none" strike="noStrike" kern="1200" cap="none" spc="0" normalizeH="0" baseline="0" noProof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  <a:latin typeface="Interstate-LightCondensed" panose="02000606050000020004" pitchFamily="2" charset="0"/>
                <a:ea typeface="+mn-ea"/>
                <a:cs typeface="+mn-cs"/>
              </a:endParaRPr>
            </a:p>
          </p:txBody>
        </p:sp>
      </p:grpSp>
      <p:cxnSp>
        <p:nvCxnSpPr>
          <p:cNvPr id="62" name="Straight Connector 61"/>
          <p:cNvCxnSpPr/>
          <p:nvPr/>
        </p:nvCxnSpPr>
        <p:spPr>
          <a:xfrm>
            <a:off x="4299741" y="2209800"/>
            <a:ext cx="0" cy="270000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prstDash val="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tangle 122"/>
          <p:cNvSpPr txBox="1"/>
          <p:nvPr/>
        </p:nvSpPr>
        <p:spPr>
          <a:xfrm>
            <a:off x="3466145" y="990600"/>
            <a:ext cx="1667192" cy="369332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xmlns:mv="urn:schemas-microsoft-com:mac:vml" xmlns:mc="http://schemas.openxmlformats.org/markup-compatibility/2006" val="1"/>
            </a:ext>
          </a:extLst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 sz="2000">
                <a:solidFill>
                  <a:srgbClr val="454545"/>
                </a:solidFill>
                <a:latin typeface="Interstate-Black" panose="02000603040000020004" pitchFamily="2" charset="0"/>
                <a:ea typeface="Interstate-BlackItalic"/>
                <a:cs typeface="Interstate-BlackItalic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3Q 2018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64" name="Gruppo"/>
          <p:cNvSpPr/>
          <p:nvPr/>
        </p:nvSpPr>
        <p:spPr>
          <a:xfrm>
            <a:off x="3200401" y="3456647"/>
            <a:ext cx="4038599" cy="4262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21600" y="0"/>
                </a:lnTo>
                <a:lnTo>
                  <a:pt x="20763" y="21600"/>
                </a:lnTo>
                <a:lnTo>
                  <a:pt x="11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>
            <a:miter lim="400000"/>
          </a:ln>
          <a:effectLst/>
        </p:spPr>
        <p:txBody>
          <a:bodyPr lIns="72000" tIns="72000" rIns="72000" bIns="72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/>
            </a:pPr>
            <a:endParaRPr kumimoji="0" sz="3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Rectangle 122"/>
          <p:cNvSpPr txBox="1"/>
          <p:nvPr/>
        </p:nvSpPr>
        <p:spPr>
          <a:xfrm>
            <a:off x="2914486" y="3352800"/>
            <a:ext cx="4463611" cy="633971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mv="urn:schemas-microsoft-com:mac:vml" xmlns:mc="http://schemas.openxmlformats.org/markup-compatibility/2006" val="1"/>
            </a:ext>
          </a:extLst>
        </p:spPr>
        <p:txBody>
          <a:bodyPr wrap="square" lIns="192000" tIns="192000" rIns="192000" bIns="192000" numCol="1" anchor="ctr">
            <a:spAutoFit/>
          </a:bodyPr>
          <a:lstStyle>
            <a:defPPr>
              <a:defRPr lang="it-IT"/>
            </a:defPPr>
            <a:lvl1pPr algn="ctr" defTabSz="2438400"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Interstate-BoldItalic" panose="02000803020000090004" pitchFamily="2" charset="0"/>
              </a:defRPr>
            </a:lvl1pPr>
          </a:lstStyle>
          <a:p>
            <a:pPr marL="0" marR="0" lvl="0" indent="0" algn="ctr" defTabSz="243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all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stallazione </a:t>
            </a:r>
            <a:r>
              <a:rPr kumimoji="0" lang="en-US" sz="1600" b="1" i="0" u="none" strike="noStrike" kern="1200" cap="all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ccess point </a:t>
            </a:r>
            <a:r>
              <a:rPr kumimoji="0" lang="en-US" sz="1600" b="1" i="0" u="none" strike="noStrike" kern="1200" cap="all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Fi</a:t>
            </a:r>
            <a:r>
              <a:rPr kumimoji="0" lang="en-US" sz="1600" b="1" i="0" u="none" strike="noStrike" kern="1200" cap="all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</a:p>
        </p:txBody>
      </p:sp>
      <p:sp>
        <p:nvSpPr>
          <p:cNvPr id="66" name="Rectangle 65"/>
          <p:cNvSpPr/>
          <p:nvPr/>
        </p:nvSpPr>
        <p:spPr>
          <a:xfrm>
            <a:off x="5164197" y="4771062"/>
            <a:ext cx="1816470" cy="880193"/>
          </a:xfrm>
          <a:prstGeom prst="rect">
            <a:avLst/>
          </a:prstGeom>
          <a:noFill/>
          <a:ln w="25400" cap="flat">
            <a:noFill/>
            <a:miter lim="400000"/>
          </a:ln>
          <a:effectLst/>
        </p:spPr>
        <p:txBody>
          <a:bodyPr wrap="square" lIns="192000" tIns="192000" rIns="192000" bIns="192000" numCol="1" anchor="ctr">
            <a:spAutoFit/>
          </a:bodyPr>
          <a:lstStyle/>
          <a:p>
            <a:pPr marL="0" marR="0" lvl="0" indent="0" algn="ctr" defTabSz="243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imi scenari d’uso 5G</a:t>
            </a:r>
          </a:p>
        </p:txBody>
      </p:sp>
      <p:sp>
        <p:nvSpPr>
          <p:cNvPr id="67" name="Rectangle 66"/>
          <p:cNvSpPr/>
          <p:nvPr/>
        </p:nvSpPr>
        <p:spPr>
          <a:xfrm>
            <a:off x="7014455" y="4758237"/>
            <a:ext cx="2306300" cy="880193"/>
          </a:xfrm>
          <a:prstGeom prst="rect">
            <a:avLst/>
          </a:prstGeom>
          <a:noFill/>
          <a:ln w="25400" cap="flat">
            <a:noFill/>
            <a:miter lim="400000"/>
          </a:ln>
          <a:effectLst/>
        </p:spPr>
        <p:txBody>
          <a:bodyPr wrap="square" lIns="192000" tIns="192000" rIns="192000" bIns="192000" numCol="1" anchor="ctr">
            <a:spAutoFit/>
          </a:bodyPr>
          <a:lstStyle/>
          <a:p>
            <a:pPr marL="0" marR="0" lvl="0" indent="0" algn="ctr" defTabSz="243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pletamento</a:t>
            </a:r>
          </a:p>
          <a:p>
            <a:pPr marL="0" marR="0" lvl="0" indent="0" algn="ctr" defTabSz="243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cenari d’uso 5G</a:t>
            </a:r>
          </a:p>
        </p:txBody>
      </p:sp>
      <p:sp>
        <p:nvSpPr>
          <p:cNvPr id="68" name="Rectangle 67"/>
          <p:cNvSpPr/>
          <p:nvPr/>
        </p:nvSpPr>
        <p:spPr>
          <a:xfrm>
            <a:off x="9047500" y="4758237"/>
            <a:ext cx="2306300" cy="880193"/>
          </a:xfrm>
          <a:prstGeom prst="rect">
            <a:avLst/>
          </a:prstGeom>
          <a:noFill/>
          <a:ln w="25400" cap="flat">
            <a:noFill/>
            <a:miter lim="400000"/>
          </a:ln>
          <a:effectLst/>
        </p:spPr>
        <p:txBody>
          <a:bodyPr wrap="square" lIns="192000" tIns="192000" rIns="192000" bIns="192000" numCol="1" anchor="ctr">
            <a:spAutoFit/>
          </a:bodyPr>
          <a:lstStyle/>
          <a:p>
            <a:pPr marL="0" marR="0" lvl="0" indent="0" algn="ctr" defTabSz="243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voluzione e nuovi  </a:t>
            </a:r>
          </a:p>
          <a:p>
            <a:pPr marL="0" marR="0" lvl="0" indent="0" algn="ctr" defTabSz="243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cenari d’uso 5G</a:t>
            </a:r>
          </a:p>
        </p:txBody>
      </p:sp>
      <p:cxnSp>
        <p:nvCxnSpPr>
          <p:cNvPr id="69" name="Straight Connector 68"/>
          <p:cNvCxnSpPr/>
          <p:nvPr/>
        </p:nvCxnSpPr>
        <p:spPr>
          <a:xfrm>
            <a:off x="6139964" y="4564300"/>
            <a:ext cx="0" cy="32400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prstDash val="dash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/>
        </p:nvCxnSpPr>
        <p:spPr>
          <a:xfrm>
            <a:off x="8167605" y="4562321"/>
            <a:ext cx="0" cy="32400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prstDash val="dash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/>
        </p:nvCxnSpPr>
        <p:spPr>
          <a:xfrm>
            <a:off x="10200271" y="4552800"/>
            <a:ext cx="0" cy="32400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prstDash val="dash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/>
        </p:nvCxnSpPr>
        <p:spPr>
          <a:xfrm flipV="1">
            <a:off x="3392292" y="1066800"/>
            <a:ext cx="234175" cy="200722"/>
          </a:xfrm>
          <a:prstGeom prst="line">
            <a:avLst/>
          </a:prstGeom>
          <a:ln w="19050">
            <a:solidFill>
              <a:srgbClr val="FFFFFF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>
          <a:xfrm flipV="1">
            <a:off x="3485317" y="1066800"/>
            <a:ext cx="234175" cy="200722"/>
          </a:xfrm>
          <a:prstGeom prst="line">
            <a:avLst/>
          </a:prstGeom>
          <a:ln w="19050">
            <a:solidFill>
              <a:srgbClr val="FFFFFF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 flipV="1">
            <a:off x="8932900" y="1066800"/>
            <a:ext cx="234175" cy="200722"/>
          </a:xfrm>
          <a:prstGeom prst="line">
            <a:avLst/>
          </a:prstGeom>
          <a:ln w="19050">
            <a:solidFill>
              <a:schemeClr val="bg1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 flipV="1">
            <a:off x="9025925" y="1066800"/>
            <a:ext cx="234175" cy="200722"/>
          </a:xfrm>
          <a:prstGeom prst="line">
            <a:avLst/>
          </a:prstGeom>
          <a:ln w="19050">
            <a:solidFill>
              <a:schemeClr val="bg1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2" name="Immagine 81" descr="1057d7674542d27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5400" y="2209800"/>
            <a:ext cx="381000" cy="381000"/>
          </a:xfrm>
          <a:prstGeom prst="rect">
            <a:avLst/>
          </a:prstGeom>
        </p:spPr>
      </p:pic>
      <p:pic>
        <p:nvPicPr>
          <p:cNvPr id="83" name="Immagine 82" descr="Logo Fastweb Giallo su fondo Nero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31596" y="338458"/>
            <a:ext cx="879404" cy="728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030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/>
          <p:cNvSpPr/>
          <p:nvPr/>
        </p:nvSpPr>
        <p:spPr>
          <a:xfrm>
            <a:off x="787495" y="2551837"/>
            <a:ext cx="10617009" cy="1077218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it-IT" sz="32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Riccardo </a:t>
            </a:r>
            <a:r>
              <a:rPr lang="it-IT" sz="3200" b="0" cap="none" spc="0" dirty="0" err="1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Masculo</a:t>
            </a:r>
            <a:endParaRPr lang="it-IT" sz="3200" b="0" cap="none" spc="0" dirty="0" smtClean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it-IT" sz="32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Head of  </a:t>
            </a:r>
            <a:r>
              <a:rPr lang="it-IT" sz="3200" b="0" cap="none" spc="0" dirty="0" err="1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Strategy</a:t>
            </a:r>
            <a:r>
              <a:rPr lang="it-IT" sz="32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and Business </a:t>
            </a:r>
            <a:r>
              <a:rPr lang="it-IT" sz="3200" b="0" cap="none" spc="0" dirty="0" err="1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Developement</a:t>
            </a:r>
            <a:r>
              <a:rPr lang="it-IT" sz="3200" b="0" cap="none" spc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, Ericsson </a:t>
            </a:r>
            <a:endParaRPr lang="it-IT" sz="3200" b="0" cap="none" spc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64637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5sYRu3x0KgXDW.4iA8i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Gt5PUTIkOVgTJVczPcH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Gt5PUTIkOVgTJVczPc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Gt5PUTIkOVgTJVczPcH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Gt5PUTIkOVgTJVczPcH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Gt5PUTIkOVgTJVczPcH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Gt5PUTIkOVgTJVczPcH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Gt5PUTIkOVgTJVczPcH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Gt5PUTIkOVgTJVczPcH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Gt5PUTIkOVgTJVczPcH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Vi6snm9m0egh.6xLCOm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2FDEGk5EK8gjHbX6W89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BiTZUfsE6.kFwj4DidG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SxrFRgxUuOxjufgAUX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0kURWRJUyifZOEO.nvE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X4KBtf7EuIfzvObRUd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.oJJW8OUaXX4gpq2WRZ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lh91Y3ukKjgdpsSlFS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Gt5PUTIkOVgTJVczPc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Gt5PUTIkOVgTJVczPc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Gt5PUTIkOVgTJVczPc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Gt5PUTIkOVgTJVczPc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Gt5PUTIkOVgTJVczPc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Gt5PUTIkOVgTJVczPcH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Gt5PUTIkOVgTJVczPcH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96</TotalTime>
  <Words>500</Words>
  <Application>Microsoft Office PowerPoint</Application>
  <PresentationFormat>Personalizzato</PresentationFormat>
  <Paragraphs>196</Paragraphs>
  <Slides>19</Slides>
  <Notes>5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itoli diapositive</vt:lpstr>
      </vt:variant>
      <vt:variant>
        <vt:i4>19</vt:i4>
      </vt:variant>
    </vt:vector>
  </HeadingPairs>
  <TitlesOfParts>
    <vt:vector size="20" baseType="lpstr">
      <vt:lpstr>Office Theme</vt:lpstr>
      <vt:lpstr>Presentazione standard di PowerPoint</vt:lpstr>
      <vt:lpstr>Presentazione standard di PowerPoint</vt:lpstr>
      <vt:lpstr>Presentazione standard di PowerPoint</vt:lpstr>
      <vt:lpstr>          UNA RIVOLUZIONE  CHE ABILITERÀ NUOVI MODELLI DI SERVIZIO</vt:lpstr>
      <vt:lpstr>L’ARCHITETTURA DI RETE SARÀ BASATA SU ASSET SPECIFICI CREANDO UN IBRIDO FISSO/MOBILE</vt:lpstr>
      <vt:lpstr>PERCHè FASTWEB, perchè ROMA</vt:lpstr>
      <vt:lpstr>PERCHè FASTWEB, perchè ROMA</vt:lpstr>
      <vt:lpstr>CRONOPROGRAMMA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sicco, Francesca (Bip)</dc:creator>
  <cp:lastModifiedBy>user</cp:lastModifiedBy>
  <cp:revision>61</cp:revision>
  <dcterms:created xsi:type="dcterms:W3CDTF">2018-02-21T08:11:22Z</dcterms:created>
  <dcterms:modified xsi:type="dcterms:W3CDTF">2018-02-21T19:14:49Z</dcterms:modified>
</cp:coreProperties>
</file>